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7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8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9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0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1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4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5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6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708" r:id="rId2"/>
    <p:sldMasterId id="2147483877" r:id="rId3"/>
    <p:sldMasterId id="2147483934" r:id="rId4"/>
    <p:sldMasterId id="2147483955" r:id="rId5"/>
    <p:sldMasterId id="2147483969" r:id="rId6"/>
    <p:sldMasterId id="2147483979" r:id="rId7"/>
    <p:sldMasterId id="2147484003" r:id="rId8"/>
    <p:sldMasterId id="2147484013" r:id="rId9"/>
    <p:sldMasterId id="2147484025" r:id="rId10"/>
    <p:sldMasterId id="2147484035" r:id="rId11"/>
    <p:sldMasterId id="2147484047" r:id="rId12"/>
    <p:sldMasterId id="2147484059" r:id="rId13"/>
    <p:sldMasterId id="2147484071" r:id="rId14"/>
    <p:sldMasterId id="2147484083" r:id="rId15"/>
    <p:sldMasterId id="2147484095" r:id="rId16"/>
  </p:sldMasterIdLst>
  <p:notesMasterIdLst>
    <p:notesMasterId r:id="rId28"/>
  </p:notesMasterIdLst>
  <p:handoutMasterIdLst>
    <p:handoutMasterId r:id="rId29"/>
  </p:handoutMasterIdLst>
  <p:sldIdLst>
    <p:sldId id="957" r:id="rId17"/>
    <p:sldId id="1008" r:id="rId18"/>
    <p:sldId id="1010" r:id="rId19"/>
    <p:sldId id="1011" r:id="rId20"/>
    <p:sldId id="1019" r:id="rId21"/>
    <p:sldId id="1017" r:id="rId22"/>
    <p:sldId id="1016" r:id="rId23"/>
    <p:sldId id="1015" r:id="rId24"/>
    <p:sldId id="1018" r:id="rId25"/>
    <p:sldId id="1012" r:id="rId26"/>
    <p:sldId id="1014" r:id="rId27"/>
  </p:sldIdLst>
  <p:sldSz cx="10972800" cy="6858000"/>
  <p:notesSz cx="7010400" cy="9296400"/>
  <p:custDataLst>
    <p:tags r:id="rId30"/>
  </p:custDataLst>
  <p:defaultTextStyle>
    <a:defPPr>
      <a:defRPr lang="en-US"/>
    </a:defPPr>
    <a:lvl1pPr marL="0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27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58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51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48" userDrawn="1">
          <p15:clr>
            <a:srgbClr val="A4A3A4"/>
          </p15:clr>
        </p15:guide>
        <p15:guide id="2" orient="horz" pos="2424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2952" userDrawn="1">
          <p15:clr>
            <a:srgbClr val="A4A3A4"/>
          </p15:clr>
        </p15:guide>
        <p15:guide id="5" pos="3600" userDrawn="1">
          <p15:clr>
            <a:srgbClr val="A4A3A4"/>
          </p15:clr>
        </p15:guide>
        <p15:guide id="6" pos="1152" userDrawn="1">
          <p15:clr>
            <a:srgbClr val="A4A3A4"/>
          </p15:clr>
        </p15:guide>
        <p15:guide id="7" pos="6552" userDrawn="1">
          <p15:clr>
            <a:srgbClr val="A4A3A4"/>
          </p15:clr>
        </p15:guide>
        <p15:guide id="8" pos="4320" userDrawn="1">
          <p15:clr>
            <a:srgbClr val="A4A3A4"/>
          </p15:clr>
        </p15:guide>
        <p15:guide id="9" pos="3528" userDrawn="1">
          <p15:clr>
            <a:srgbClr val="A4A3A4"/>
          </p15:clr>
        </p15:guide>
        <p15:guide id="10" pos="2232" userDrawn="1">
          <p15:clr>
            <a:srgbClr val="A4A3A4"/>
          </p15:clr>
        </p15:guide>
        <p15:guide id="11" orient="horz" pos="2664" userDrawn="1">
          <p15:clr>
            <a:srgbClr val="A4A3A4"/>
          </p15:clr>
        </p15:guide>
        <p15:guide id="12" orient="horz" pos="912" userDrawn="1">
          <p15:clr>
            <a:srgbClr val="A4A3A4"/>
          </p15:clr>
        </p15:guide>
        <p15:guide id="13" orient="horz" pos="1392" userDrawn="1">
          <p15:clr>
            <a:srgbClr val="A4A3A4"/>
          </p15:clr>
        </p15:guide>
        <p15:guide id="14" orient="horz" pos="3696" userDrawn="1">
          <p15:clr>
            <a:srgbClr val="A4A3A4"/>
          </p15:clr>
        </p15:guide>
        <p15:guide id="15" orient="horz" pos="3240" userDrawn="1">
          <p15:clr>
            <a:srgbClr val="A4A3A4"/>
          </p15:clr>
        </p15:guide>
        <p15:guide id="16" orient="horz" pos="1632" userDrawn="1">
          <p15:clr>
            <a:srgbClr val="A4A3A4"/>
          </p15:clr>
        </p15:guide>
        <p15:guide id="17" orient="horz" pos="3967">
          <p15:clr>
            <a:srgbClr val="A4A3A4"/>
          </p15:clr>
        </p15:guide>
        <p15:guide id="18" orient="horz" pos="548">
          <p15:clr>
            <a:srgbClr val="A4A3A4"/>
          </p15:clr>
        </p15:guide>
        <p15:guide id="19" pos="2429">
          <p15:clr>
            <a:srgbClr val="A4A3A4"/>
          </p15:clr>
        </p15:guide>
        <p15:guide id="20" pos="2261">
          <p15:clr>
            <a:srgbClr val="A4A3A4"/>
          </p15:clr>
        </p15:guide>
        <p15:guide id="21" orient="horz" pos="805">
          <p15:clr>
            <a:srgbClr val="A4A3A4"/>
          </p15:clr>
        </p15:guide>
        <p15:guide id="22" pos="2074">
          <p15:clr>
            <a:srgbClr val="A4A3A4"/>
          </p15:clr>
        </p15:guide>
        <p15:guide id="23" pos="616">
          <p15:clr>
            <a:srgbClr val="A4A3A4"/>
          </p15:clr>
        </p15:guide>
        <p15:guide id="24" pos="6613">
          <p15:clr>
            <a:srgbClr val="A4A3A4"/>
          </p15:clr>
        </p15:guide>
        <p15:guide id="25" pos="4704">
          <p15:clr>
            <a:srgbClr val="A4A3A4"/>
          </p15:clr>
        </p15:guide>
        <p15:guide id="26" pos="2659">
          <p15:clr>
            <a:srgbClr val="A4A3A4"/>
          </p15:clr>
        </p15:guide>
        <p15:guide id="27" pos="342">
          <p15:clr>
            <a:srgbClr val="A4A3A4"/>
          </p15:clr>
        </p15:guide>
        <p15:guide id="28" pos="1685">
          <p15:clr>
            <a:srgbClr val="A4A3A4"/>
          </p15:clr>
        </p15:guide>
        <p15:guide id="29" orient="horz" pos="1464">
          <p15:clr>
            <a:srgbClr val="A4A3A4"/>
          </p15:clr>
        </p15:guide>
        <p15:guide id="30" orient="horz" pos="2488">
          <p15:clr>
            <a:srgbClr val="A4A3A4"/>
          </p15:clr>
        </p15:guide>
        <p15:guide id="31" orient="horz" pos="3037">
          <p15:clr>
            <a:srgbClr val="A4A3A4"/>
          </p15:clr>
        </p15:guide>
        <p15:guide id="33" orient="horz" pos="2065">
          <p15:clr>
            <a:srgbClr val="A4A3A4"/>
          </p15:clr>
        </p15:guide>
        <p15:guide id="34" orient="horz" pos="3819">
          <p15:clr>
            <a:srgbClr val="A4A3A4"/>
          </p15:clr>
        </p15:guide>
        <p15:guide id="35" orient="horz" pos="2107">
          <p15:clr>
            <a:srgbClr val="A4A3A4"/>
          </p15:clr>
        </p15:guide>
        <p15:guide id="36" orient="horz" pos="3658">
          <p15:clr>
            <a:srgbClr val="A4A3A4"/>
          </p15:clr>
        </p15:guide>
        <p15:guide id="37" orient="horz" pos="3641">
          <p15:clr>
            <a:srgbClr val="A4A3A4"/>
          </p15:clr>
        </p15:guide>
        <p15:guide id="38" orient="horz" pos="4103">
          <p15:clr>
            <a:srgbClr val="A4A3A4"/>
          </p15:clr>
        </p15:guide>
        <p15:guide id="39" pos="3032">
          <p15:clr>
            <a:srgbClr val="A4A3A4"/>
          </p15:clr>
        </p15:guide>
        <p15:guide id="40" pos="1412">
          <p15:clr>
            <a:srgbClr val="A4A3A4"/>
          </p15:clr>
        </p15:guide>
        <p15:guide id="41" pos="6893">
          <p15:clr>
            <a:srgbClr val="A4A3A4"/>
          </p15:clr>
        </p15:guide>
        <p15:guide id="42" pos="4474">
          <p15:clr>
            <a:srgbClr val="A4A3A4"/>
          </p15:clr>
        </p15:guide>
        <p15:guide id="43" pos="2545">
          <p15:clr>
            <a:srgbClr val="A4A3A4"/>
          </p15:clr>
        </p15:guide>
        <p15:guide id="44" pos="6911">
          <p15:clr>
            <a:srgbClr val="A4A3A4"/>
          </p15:clr>
        </p15:guide>
        <p15:guide id="45" pos="592">
          <p15:clr>
            <a:srgbClr val="A4A3A4"/>
          </p15:clr>
        </p15:guide>
        <p15:guide id="46" pos="5540">
          <p15:clr>
            <a:srgbClr val="A4A3A4"/>
          </p15:clr>
        </p15:guide>
        <p15:guide id="47" pos="2140">
          <p15:clr>
            <a:srgbClr val="A4A3A4"/>
          </p15:clr>
        </p15:guide>
        <p15:guide id="48" pos="2658">
          <p15:clr>
            <a:srgbClr val="A4A3A4"/>
          </p15:clr>
        </p15:guide>
        <p15:guide id="49" orient="horz" pos="1603">
          <p15:clr>
            <a:srgbClr val="A4A3A4"/>
          </p15:clr>
        </p15:guide>
        <p15:guide id="50" orient="horz" pos="1795">
          <p15:clr>
            <a:srgbClr val="A4A3A4"/>
          </p15:clr>
        </p15:guide>
        <p15:guide id="51" orient="horz" pos="1172">
          <p15:clr>
            <a:srgbClr val="A4A3A4"/>
          </p15:clr>
        </p15:guide>
        <p15:guide id="52" orient="horz" pos="2321">
          <p15:clr>
            <a:srgbClr val="A4A3A4"/>
          </p15:clr>
        </p15:guide>
        <p15:guide id="53" orient="horz" pos="1422">
          <p15:clr>
            <a:srgbClr val="A4A3A4"/>
          </p15:clr>
        </p15:guide>
        <p15:guide id="54" orient="horz" pos="25">
          <p15:clr>
            <a:srgbClr val="A4A3A4"/>
          </p15:clr>
        </p15:guide>
        <p15:guide id="55" orient="horz" pos="165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99"/>
    <a:srgbClr val="D2E9CD"/>
    <a:srgbClr val="E5FFF6"/>
    <a:srgbClr val="003300"/>
    <a:srgbClr val="AC8300"/>
    <a:srgbClr val="FFFFFF"/>
    <a:srgbClr val="0B0B4D"/>
    <a:srgbClr val="009900"/>
    <a:srgbClr val="AFD7A5"/>
    <a:srgbClr val="BCDE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324" autoAdjust="0"/>
    <p:restoredTop sz="94162" autoAdjust="0"/>
  </p:normalViewPr>
  <p:slideViewPr>
    <p:cSldViewPr snapToGrid="0" snapToObjects="1" showGuides="1">
      <p:cViewPr varScale="1">
        <p:scale>
          <a:sx n="80" d="100"/>
          <a:sy n="80" d="100"/>
        </p:scale>
        <p:origin x="1038" y="78"/>
      </p:cViewPr>
      <p:guideLst>
        <p:guide orient="horz" pos="1248"/>
        <p:guide orient="horz" pos="2424"/>
        <p:guide orient="horz" pos="3936"/>
        <p:guide orient="horz" pos="2952"/>
        <p:guide pos="3600"/>
        <p:guide pos="1152"/>
        <p:guide pos="6552"/>
        <p:guide pos="4320"/>
        <p:guide pos="3528"/>
        <p:guide pos="2232"/>
        <p:guide orient="horz" pos="2664"/>
        <p:guide orient="horz" pos="912"/>
        <p:guide orient="horz" pos="1392"/>
        <p:guide orient="horz" pos="3696"/>
        <p:guide orient="horz" pos="3240"/>
        <p:guide orient="horz" pos="1632"/>
        <p:guide orient="horz" pos="3967"/>
        <p:guide orient="horz" pos="548"/>
        <p:guide pos="2429"/>
        <p:guide pos="2261"/>
        <p:guide orient="horz" pos="805"/>
        <p:guide pos="2074"/>
        <p:guide pos="616"/>
        <p:guide pos="6613"/>
        <p:guide pos="4704"/>
        <p:guide pos="2659"/>
        <p:guide pos="342"/>
        <p:guide pos="1685"/>
        <p:guide orient="horz" pos="1464"/>
        <p:guide orient="horz" pos="2488"/>
        <p:guide orient="horz" pos="3037"/>
        <p:guide orient="horz" pos="2065"/>
        <p:guide orient="horz" pos="3819"/>
        <p:guide orient="horz" pos="2107"/>
        <p:guide orient="horz" pos="3658"/>
        <p:guide orient="horz" pos="3641"/>
        <p:guide orient="horz" pos="4103"/>
        <p:guide pos="3032"/>
        <p:guide pos="1412"/>
        <p:guide pos="6893"/>
        <p:guide pos="4474"/>
        <p:guide pos="2545"/>
        <p:guide pos="6911"/>
        <p:guide pos="592"/>
        <p:guide pos="5540"/>
        <p:guide pos="2140"/>
        <p:guide pos="2658"/>
        <p:guide orient="horz" pos="1603"/>
        <p:guide orient="horz" pos="1795"/>
        <p:guide orient="horz" pos="1172"/>
        <p:guide orient="horz" pos="2321"/>
        <p:guide orient="horz" pos="1422"/>
        <p:guide orient="horz" pos="25"/>
        <p:guide orient="horz" pos="165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52" d="100"/>
          <a:sy n="52" d="100"/>
        </p:scale>
        <p:origin x="-2856" y="-84"/>
      </p:cViewPr>
      <p:guideLst>
        <p:guide orient="horz" pos="2928"/>
        <p:guide pos="220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5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4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5824" tIns="47912" rIns="95824" bIns="47912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5824" tIns="47912" rIns="95824" bIns="47912" rtlCol="0"/>
          <a:lstStyle>
            <a:lvl1pPr algn="r">
              <a:defRPr sz="1300"/>
            </a:lvl1pPr>
          </a:lstStyle>
          <a:p>
            <a:fld id="{75A85089-C692-4DEA-AC49-04CF34D4FE14}" type="datetimeFigureOut">
              <a:rPr lang="en-GB" smtClean="0"/>
              <a:pPr/>
              <a:t>30/08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5824" tIns="47912" rIns="95824" bIns="47912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5824" tIns="47912" rIns="95824" bIns="47912" rtlCol="0" anchor="b"/>
          <a:lstStyle>
            <a:lvl1pPr algn="r">
              <a:defRPr sz="1300"/>
            </a:lvl1pPr>
          </a:lstStyle>
          <a:p>
            <a:fld id="{D3A5C721-4BB5-4DB6-AD65-4BA2A62B05B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5824" tIns="47912" rIns="95824" bIns="47912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5824" tIns="47912" rIns="95824" bIns="47912" rtlCol="0"/>
          <a:lstStyle>
            <a:lvl1pPr algn="r">
              <a:defRPr sz="1300"/>
            </a:lvl1pPr>
          </a:lstStyle>
          <a:p>
            <a:fld id="{8045EBA9-A28D-4849-BFEA-AA04F6A21B63}" type="datetimeFigureOut">
              <a:rPr lang="en-GB" smtClean="0"/>
              <a:pPr/>
              <a:t>30/08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696913"/>
            <a:ext cx="55753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824" tIns="47912" rIns="95824" bIns="47912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5824" tIns="47912" rIns="95824" bIns="4791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5824" tIns="47912" rIns="95824" bIns="47912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5824" tIns="47912" rIns="95824" bIns="47912" rtlCol="0" anchor="b"/>
          <a:lstStyle>
            <a:lvl1pPr algn="r">
              <a:defRPr sz="1300"/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8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1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16282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3415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5.w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5.w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7.png"/><Relationship Id="rId4" Type="http://schemas.openxmlformats.org/officeDocument/2006/relationships/image" Target="../media/image5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5.w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4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17.png"/><Relationship Id="rId4" Type="http://schemas.openxmlformats.org/officeDocument/2006/relationships/image" Target="../media/image5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5.w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8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17.png"/><Relationship Id="rId4" Type="http://schemas.openxmlformats.org/officeDocument/2006/relationships/image" Target="../media/image5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5.w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2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3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6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5.w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6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9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.png"/><Relationship Id="rId4" Type="http://schemas.openxmlformats.org/officeDocument/2006/relationships/image" Target="../media/image5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5.w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03930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170"/>
            <a:ext cx="9875520" cy="36576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062750"/>
            <a:ext cx="9875520" cy="469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202188"/>
            <a:ext cx="987552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9072" y="757504"/>
            <a:ext cx="65880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9072" y="1753200"/>
            <a:ext cx="6588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bg2"/>
                </a:solidFill>
              </a:defRPr>
            </a:lvl2pPr>
            <a:lvl3pPr marL="914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  <a:p>
            <a:pPr lvl="1"/>
            <a:endParaRPr lang="en-GB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2728317" y="5748644"/>
            <a:ext cx="118018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4" name="Group 3"/>
          <p:cNvGrpSpPr/>
          <p:nvPr userDrawn="1"/>
        </p:nvGrpSpPr>
        <p:grpSpPr>
          <a:xfrm>
            <a:off x="0" y="2403035"/>
            <a:ext cx="10972800" cy="3345400"/>
            <a:chOff x="0" y="2403034"/>
            <a:chExt cx="9144000" cy="3345400"/>
          </a:xfrm>
        </p:grpSpPr>
        <p:sp>
          <p:nvSpPr>
            <p:cNvPr id="9" name="Freeform 8"/>
            <p:cNvSpPr>
              <a:spLocks/>
            </p:cNvSpPr>
            <p:nvPr userDrawn="1"/>
          </p:nvSpPr>
          <p:spPr bwMode="gray">
            <a:xfrm>
              <a:off x="2277773" y="2403034"/>
              <a:ext cx="6866227" cy="2493573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4406819"/>
              <a:ext cx="2287954" cy="13416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674158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 descr="Satellite2"/>
          <p:cNvPicPr>
            <a:picLocks noChangeAspect="1" noChangeArrowheads="1"/>
          </p:cNvPicPr>
          <p:nvPr userDrawn="1"/>
        </p:nvPicPr>
        <p:blipFill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8" y="0"/>
            <a:ext cx="10972794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727905" y="5748934"/>
            <a:ext cx="118018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9072" y="757504"/>
            <a:ext cx="65880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9072" y="1753200"/>
            <a:ext cx="6588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109728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548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170"/>
            <a:ext cx="9875520" cy="36576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062750"/>
            <a:ext cx="9875520" cy="469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202188"/>
            <a:ext cx="987552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563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68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928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5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6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034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>
                <a:solidFill>
                  <a:srgbClr val="000000"/>
                </a:solidFill>
              </a:rPr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1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195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>
                <a:solidFill>
                  <a:srgbClr val="000000"/>
                </a:solidFill>
              </a:rPr>
              <a:t>Presentation title</a:t>
            </a: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171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3064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258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5" y="1435"/>
          <a:ext cx="1626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5" y="1435"/>
                        <a:ext cx="1626" cy="14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92" y="457200"/>
            <a:ext cx="6496050" cy="4572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064363" y="1799130"/>
            <a:ext cx="5571672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64363" y="2769577"/>
            <a:ext cx="5571672" cy="645742"/>
          </a:xfrm>
          <a:prstGeom prst="rect">
            <a:avLst/>
          </a:prstGeom>
        </p:spPr>
        <p:txBody>
          <a:bodyPr lIns="90879" tIns="45426" rIns="90879" bIns="45426"/>
          <a:lstStyle>
            <a:lvl1pPr marL="0" indent="0" algn="l">
              <a:buNone/>
              <a:defRPr sz="2300"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  <a:lvl2pPr marL="0" indent="0" algn="l">
              <a:buNone/>
              <a:defRPr sz="1800">
                <a:solidFill>
                  <a:srgbClr val="404040"/>
                </a:solidFill>
              </a:defRPr>
            </a:lvl2pPr>
            <a:lvl3pPr marL="1043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312634" y="5702585"/>
            <a:ext cx="4660876" cy="708325"/>
            <a:chOff x="399256" y="6507163"/>
            <a:chExt cx="4544219" cy="783909"/>
          </a:xfrm>
        </p:grpSpPr>
        <p:sp>
          <p:nvSpPr>
            <p:cNvPr id="4" name="AutoShape 110"/>
            <p:cNvSpPr>
              <a:spLocks noChangeAspect="1" noChangeArrowheads="1" noTextEdit="1"/>
            </p:cNvSpPr>
            <p:nvPr userDrawn="1"/>
          </p:nvSpPr>
          <p:spPr bwMode="auto">
            <a:xfrm>
              <a:off x="520700" y="6507163"/>
              <a:ext cx="4422775" cy="684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" name="Rectangle 112"/>
            <p:cNvSpPr>
              <a:spLocks noChangeArrowheads="1"/>
            </p:cNvSpPr>
            <p:nvPr userDrawn="1"/>
          </p:nvSpPr>
          <p:spPr bwMode="auto">
            <a:xfrm>
              <a:off x="5334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6" name="Rectangle 113"/>
            <p:cNvSpPr>
              <a:spLocks noChangeArrowheads="1"/>
            </p:cNvSpPr>
            <p:nvPr userDrawn="1"/>
          </p:nvSpPr>
          <p:spPr bwMode="auto">
            <a:xfrm>
              <a:off x="7366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2" name="Rectangle 114"/>
            <p:cNvSpPr>
              <a:spLocks noChangeArrowheads="1"/>
            </p:cNvSpPr>
            <p:nvPr userDrawn="1"/>
          </p:nvSpPr>
          <p:spPr bwMode="auto">
            <a:xfrm>
              <a:off x="938213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3" name="Rectangle 115"/>
            <p:cNvSpPr>
              <a:spLocks noChangeArrowheads="1"/>
            </p:cNvSpPr>
            <p:nvPr userDrawn="1"/>
          </p:nvSpPr>
          <p:spPr bwMode="auto">
            <a:xfrm>
              <a:off x="399256" y="6746081"/>
              <a:ext cx="4159766" cy="544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question. The better the answer.</a:t>
              </a:r>
            </a:p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world works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16"/>
            <p:cNvSpPr>
              <a:spLocks noChangeArrowheads="1"/>
            </p:cNvSpPr>
            <p:nvPr userDrawn="1"/>
          </p:nvSpPr>
          <p:spPr bwMode="auto">
            <a:xfrm>
              <a:off x="64135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6" name="Rectangle 126"/>
            <p:cNvSpPr>
              <a:spLocks noChangeArrowheads="1"/>
            </p:cNvSpPr>
            <p:nvPr userDrawn="1"/>
          </p:nvSpPr>
          <p:spPr bwMode="auto">
            <a:xfrm>
              <a:off x="3470275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1" name="Rectangle 131"/>
            <p:cNvSpPr>
              <a:spLocks noChangeArrowheads="1"/>
            </p:cNvSpPr>
            <p:nvPr userDrawn="1"/>
          </p:nvSpPr>
          <p:spPr bwMode="auto">
            <a:xfrm>
              <a:off x="471170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2" name="Rectangle 132"/>
            <p:cNvSpPr>
              <a:spLocks noChangeArrowheads="1"/>
            </p:cNvSpPr>
            <p:nvPr userDrawn="1"/>
          </p:nvSpPr>
          <p:spPr bwMode="auto">
            <a:xfrm>
              <a:off x="4824413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4" name="Rectangle 144"/>
            <p:cNvSpPr>
              <a:spLocks noChangeArrowheads="1"/>
            </p:cNvSpPr>
            <p:nvPr userDrawn="1"/>
          </p:nvSpPr>
          <p:spPr bwMode="auto">
            <a:xfrm>
              <a:off x="2836864" y="69310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6" name="Rectangle 146"/>
            <p:cNvSpPr>
              <a:spLocks noChangeArrowheads="1"/>
            </p:cNvSpPr>
            <p:nvPr userDrawn="1"/>
          </p:nvSpPr>
          <p:spPr bwMode="auto">
            <a:xfrm>
              <a:off x="3040063" y="6931024"/>
              <a:ext cx="56264" cy="27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51" name="Group 50"/>
          <p:cNvGrpSpPr/>
          <p:nvPr userDrawn="1"/>
        </p:nvGrpSpPr>
        <p:grpSpPr>
          <a:xfrm>
            <a:off x="9250108" y="5340375"/>
            <a:ext cx="1185368" cy="1156150"/>
            <a:chOff x="9018588" y="5910263"/>
            <a:chExt cx="1155700" cy="1279526"/>
          </a:xfrm>
        </p:grpSpPr>
        <p:sp>
          <p:nvSpPr>
            <p:cNvPr id="48" name="AutoShape 148"/>
            <p:cNvSpPr>
              <a:spLocks noChangeAspect="1" noChangeArrowheads="1" noTextEdit="1"/>
            </p:cNvSpPr>
            <p:nvPr userDrawn="1"/>
          </p:nvSpPr>
          <p:spPr bwMode="auto">
            <a:xfrm>
              <a:off x="9018588" y="5910263"/>
              <a:ext cx="1155700" cy="127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49" name="Freeform 150"/>
            <p:cNvSpPr>
              <a:spLocks/>
            </p:cNvSpPr>
            <p:nvPr userDrawn="1"/>
          </p:nvSpPr>
          <p:spPr bwMode="auto">
            <a:xfrm>
              <a:off x="9018588" y="5910263"/>
              <a:ext cx="925513" cy="319088"/>
            </a:xfrm>
            <a:custGeom>
              <a:avLst/>
              <a:gdLst>
                <a:gd name="T0" fmla="*/ 2332 w 2332"/>
                <a:gd name="T1" fmla="*/ 0 h 1006"/>
                <a:gd name="T2" fmla="*/ 0 w 2332"/>
                <a:gd name="T3" fmla="*/ 1006 h 1006"/>
                <a:gd name="T4" fmla="*/ 2332 w 2332"/>
                <a:gd name="T5" fmla="*/ 519 h 1006"/>
                <a:gd name="T6" fmla="*/ 2332 w 2332"/>
                <a:gd name="T7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2" h="1006">
                  <a:moveTo>
                    <a:pt x="2332" y="0"/>
                  </a:moveTo>
                  <a:lnTo>
                    <a:pt x="0" y="1006"/>
                  </a:lnTo>
                  <a:lnTo>
                    <a:pt x="2332" y="519"/>
                  </a:lnTo>
                  <a:lnTo>
                    <a:pt x="2332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0" name="Freeform 151"/>
            <p:cNvSpPr>
              <a:spLocks noEditPoints="1"/>
            </p:cNvSpPr>
            <p:nvPr userDrawn="1"/>
          </p:nvSpPr>
          <p:spPr bwMode="auto">
            <a:xfrm>
              <a:off x="9018588" y="6362701"/>
              <a:ext cx="1155700" cy="827088"/>
            </a:xfrm>
            <a:custGeom>
              <a:avLst/>
              <a:gdLst>
                <a:gd name="T0" fmla="*/ 220 w 2912"/>
                <a:gd name="T1" fmla="*/ 1769 h 2606"/>
                <a:gd name="T2" fmla="*/ 238 w 2912"/>
                <a:gd name="T3" fmla="*/ 2000 h 2606"/>
                <a:gd name="T4" fmla="*/ 143 w 2912"/>
                <a:gd name="T5" fmla="*/ 2016 h 2606"/>
                <a:gd name="T6" fmla="*/ 331 w 2912"/>
                <a:gd name="T7" fmla="*/ 1962 h 2606"/>
                <a:gd name="T8" fmla="*/ 392 w 2912"/>
                <a:gd name="T9" fmla="*/ 2069 h 2606"/>
                <a:gd name="T10" fmla="*/ 1075 w 2912"/>
                <a:gd name="T11" fmla="*/ 1840 h 2606"/>
                <a:gd name="T12" fmla="*/ 1147 w 2912"/>
                <a:gd name="T13" fmla="*/ 1936 h 2606"/>
                <a:gd name="T14" fmla="*/ 657 w 2912"/>
                <a:gd name="T15" fmla="*/ 1722 h 2606"/>
                <a:gd name="T16" fmla="*/ 696 w 2912"/>
                <a:gd name="T17" fmla="*/ 1905 h 2606"/>
                <a:gd name="T18" fmla="*/ 811 w 2912"/>
                <a:gd name="T19" fmla="*/ 2065 h 2606"/>
                <a:gd name="T20" fmla="*/ 785 w 2912"/>
                <a:gd name="T21" fmla="*/ 1876 h 2606"/>
                <a:gd name="T22" fmla="*/ 1906 w 2912"/>
                <a:gd name="T23" fmla="*/ 2072 h 2606"/>
                <a:gd name="T24" fmla="*/ 2035 w 2912"/>
                <a:gd name="T25" fmla="*/ 1946 h 2606"/>
                <a:gd name="T26" fmla="*/ 1981 w 2912"/>
                <a:gd name="T27" fmla="*/ 1927 h 2606"/>
                <a:gd name="T28" fmla="*/ 1942 w 2912"/>
                <a:gd name="T29" fmla="*/ 1876 h 2606"/>
                <a:gd name="T30" fmla="*/ 1234 w 2912"/>
                <a:gd name="T31" fmla="*/ 1932 h 2606"/>
                <a:gd name="T32" fmla="*/ 1362 w 2912"/>
                <a:gd name="T33" fmla="*/ 2054 h 2606"/>
                <a:gd name="T34" fmla="*/ 1389 w 2912"/>
                <a:gd name="T35" fmla="*/ 2143 h 2606"/>
                <a:gd name="T36" fmla="*/ 1291 w 2912"/>
                <a:gd name="T37" fmla="*/ 1984 h 2606"/>
                <a:gd name="T38" fmla="*/ 1629 w 2912"/>
                <a:gd name="T39" fmla="*/ 1868 h 2606"/>
                <a:gd name="T40" fmla="*/ 1539 w 2912"/>
                <a:gd name="T41" fmla="*/ 1980 h 2606"/>
                <a:gd name="T42" fmla="*/ 1718 w 2912"/>
                <a:gd name="T43" fmla="*/ 1905 h 2606"/>
                <a:gd name="T44" fmla="*/ 1590 w 2912"/>
                <a:gd name="T45" fmla="*/ 1990 h 2606"/>
                <a:gd name="T46" fmla="*/ 1611 w 2912"/>
                <a:gd name="T47" fmla="*/ 2024 h 2606"/>
                <a:gd name="T48" fmla="*/ 2113 w 2912"/>
                <a:gd name="T49" fmla="*/ 1968 h 2606"/>
                <a:gd name="T50" fmla="*/ 2100 w 2912"/>
                <a:gd name="T51" fmla="*/ 1841 h 2606"/>
                <a:gd name="T52" fmla="*/ 2160 w 2912"/>
                <a:gd name="T53" fmla="*/ 2079 h 2606"/>
                <a:gd name="T54" fmla="*/ 2189 w 2912"/>
                <a:gd name="T55" fmla="*/ 1904 h 2606"/>
                <a:gd name="T56" fmla="*/ 2742 w 2912"/>
                <a:gd name="T57" fmla="*/ 1949 h 2606"/>
                <a:gd name="T58" fmla="*/ 2575 w 2912"/>
                <a:gd name="T59" fmla="*/ 1875 h 2606"/>
                <a:gd name="T60" fmla="*/ 2689 w 2912"/>
                <a:gd name="T61" fmla="*/ 2072 h 2606"/>
                <a:gd name="T62" fmla="*/ 2488 w 2912"/>
                <a:gd name="T63" fmla="*/ 1986 h 2606"/>
                <a:gd name="T64" fmla="*/ 2456 w 2912"/>
                <a:gd name="T65" fmla="*/ 2064 h 2606"/>
                <a:gd name="T66" fmla="*/ 2324 w 2912"/>
                <a:gd name="T67" fmla="*/ 2074 h 2606"/>
                <a:gd name="T68" fmla="*/ 2353 w 2912"/>
                <a:gd name="T69" fmla="*/ 2018 h 2606"/>
                <a:gd name="T70" fmla="*/ 2827 w 2912"/>
                <a:gd name="T71" fmla="*/ 1825 h 2606"/>
                <a:gd name="T72" fmla="*/ 919 w 2912"/>
                <a:gd name="T73" fmla="*/ 2072 h 2606"/>
                <a:gd name="T74" fmla="*/ 2278 w 2912"/>
                <a:gd name="T75" fmla="*/ 2305 h 2606"/>
                <a:gd name="T76" fmla="*/ 2367 w 2912"/>
                <a:gd name="T77" fmla="*/ 2508 h 2606"/>
                <a:gd name="T78" fmla="*/ 2344 w 2912"/>
                <a:gd name="T79" fmla="*/ 2311 h 2606"/>
                <a:gd name="T80" fmla="*/ 591 w 2912"/>
                <a:gd name="T81" fmla="*/ 2315 h 2606"/>
                <a:gd name="T82" fmla="*/ 634 w 2912"/>
                <a:gd name="T83" fmla="*/ 2327 h 2606"/>
                <a:gd name="T84" fmla="*/ 190 w 2912"/>
                <a:gd name="T85" fmla="*/ 2379 h 2606"/>
                <a:gd name="T86" fmla="*/ 292 w 2912"/>
                <a:gd name="T87" fmla="*/ 2422 h 2606"/>
                <a:gd name="T88" fmla="*/ 475 w 2912"/>
                <a:gd name="T89" fmla="*/ 2422 h 2606"/>
                <a:gd name="T90" fmla="*/ 353 w 2912"/>
                <a:gd name="T91" fmla="*/ 2434 h 2606"/>
                <a:gd name="T92" fmla="*/ 414 w 2912"/>
                <a:gd name="T93" fmla="*/ 2434 h 2606"/>
                <a:gd name="T94" fmla="*/ 2072 w 2912"/>
                <a:gd name="T95" fmla="*/ 2273 h 2606"/>
                <a:gd name="T96" fmla="*/ 1506 w 2912"/>
                <a:gd name="T97" fmla="*/ 2258 h 2606"/>
                <a:gd name="T98" fmla="*/ 1827 w 2912"/>
                <a:gd name="T99" fmla="*/ 2280 h 2606"/>
                <a:gd name="T100" fmla="*/ 1888 w 2912"/>
                <a:gd name="T101" fmla="*/ 2511 h 2606"/>
                <a:gd name="T102" fmla="*/ 1943 w 2912"/>
                <a:gd name="T103" fmla="*/ 2274 h 2606"/>
                <a:gd name="T104" fmla="*/ 1888 w 2912"/>
                <a:gd name="T105" fmla="*/ 2310 h 2606"/>
                <a:gd name="T106" fmla="*/ 723 w 2912"/>
                <a:gd name="T107" fmla="*/ 2155 h 2606"/>
                <a:gd name="T108" fmla="*/ 1133 w 2912"/>
                <a:gd name="T109" fmla="*/ 2269 h 2606"/>
                <a:gd name="T110" fmla="*/ 1045 w 2912"/>
                <a:gd name="T111" fmla="*/ 2324 h 2606"/>
                <a:gd name="T112" fmla="*/ 1207 w 2912"/>
                <a:gd name="T113" fmla="*/ 2315 h 2606"/>
                <a:gd name="T114" fmla="*/ 1306 w 2912"/>
                <a:gd name="T115" fmla="*/ 2505 h 2606"/>
                <a:gd name="T116" fmla="*/ 1323 w 2912"/>
                <a:gd name="T117" fmla="*/ 2599 h 2606"/>
                <a:gd name="T118" fmla="*/ 1277 w 2912"/>
                <a:gd name="T119" fmla="*/ 2451 h 2606"/>
                <a:gd name="T120" fmla="*/ 937 w 2912"/>
                <a:gd name="T121" fmla="*/ 2367 h 2606"/>
                <a:gd name="T122" fmla="*/ 375 w 2912"/>
                <a:gd name="T123" fmla="*/ 1073 h 2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12" h="2606">
                  <a:moveTo>
                    <a:pt x="242" y="1964"/>
                  </a:moveTo>
                  <a:lnTo>
                    <a:pt x="242" y="1964"/>
                  </a:lnTo>
                  <a:lnTo>
                    <a:pt x="242" y="1956"/>
                  </a:lnTo>
                  <a:lnTo>
                    <a:pt x="241" y="1948"/>
                  </a:lnTo>
                  <a:lnTo>
                    <a:pt x="238" y="1934"/>
                  </a:lnTo>
                  <a:lnTo>
                    <a:pt x="233" y="1921"/>
                  </a:lnTo>
                  <a:lnTo>
                    <a:pt x="227" y="1911"/>
                  </a:lnTo>
                  <a:lnTo>
                    <a:pt x="220" y="1904"/>
                  </a:lnTo>
                  <a:lnTo>
                    <a:pt x="212" y="1898"/>
                  </a:lnTo>
                  <a:lnTo>
                    <a:pt x="206" y="1893"/>
                  </a:lnTo>
                  <a:lnTo>
                    <a:pt x="200" y="1889"/>
                  </a:lnTo>
                  <a:lnTo>
                    <a:pt x="200" y="1889"/>
                  </a:lnTo>
                  <a:lnTo>
                    <a:pt x="207" y="1883"/>
                  </a:lnTo>
                  <a:lnTo>
                    <a:pt x="213" y="1877"/>
                  </a:lnTo>
                  <a:lnTo>
                    <a:pt x="219" y="1870"/>
                  </a:lnTo>
                  <a:lnTo>
                    <a:pt x="224" y="1861"/>
                  </a:lnTo>
                  <a:lnTo>
                    <a:pt x="228" y="1852"/>
                  </a:lnTo>
                  <a:lnTo>
                    <a:pt x="230" y="1843"/>
                  </a:lnTo>
                  <a:lnTo>
                    <a:pt x="232" y="1833"/>
                  </a:lnTo>
                  <a:lnTo>
                    <a:pt x="232" y="1822"/>
                  </a:lnTo>
                  <a:lnTo>
                    <a:pt x="232" y="1822"/>
                  </a:lnTo>
                  <a:lnTo>
                    <a:pt x="232" y="1812"/>
                  </a:lnTo>
                  <a:lnTo>
                    <a:pt x="231" y="1802"/>
                  </a:lnTo>
                  <a:lnTo>
                    <a:pt x="229" y="1793"/>
                  </a:lnTo>
                  <a:lnTo>
                    <a:pt x="227" y="1785"/>
                  </a:lnTo>
                  <a:lnTo>
                    <a:pt x="224" y="1776"/>
                  </a:lnTo>
                  <a:lnTo>
                    <a:pt x="220" y="1769"/>
                  </a:lnTo>
                  <a:lnTo>
                    <a:pt x="214" y="1763"/>
                  </a:lnTo>
                  <a:lnTo>
                    <a:pt x="209" y="1756"/>
                  </a:lnTo>
                  <a:lnTo>
                    <a:pt x="203" y="1752"/>
                  </a:lnTo>
                  <a:lnTo>
                    <a:pt x="197" y="1747"/>
                  </a:lnTo>
                  <a:lnTo>
                    <a:pt x="189" y="1743"/>
                  </a:lnTo>
                  <a:lnTo>
                    <a:pt x="181" y="1739"/>
                  </a:lnTo>
                  <a:lnTo>
                    <a:pt x="173" y="1737"/>
                  </a:lnTo>
                  <a:lnTo>
                    <a:pt x="163" y="1734"/>
                  </a:lnTo>
                  <a:lnTo>
                    <a:pt x="154" y="1734"/>
                  </a:lnTo>
                  <a:lnTo>
                    <a:pt x="144" y="1733"/>
                  </a:lnTo>
                  <a:lnTo>
                    <a:pt x="21" y="1733"/>
                  </a:lnTo>
                  <a:lnTo>
                    <a:pt x="21" y="2072"/>
                  </a:lnTo>
                  <a:lnTo>
                    <a:pt x="143" y="2072"/>
                  </a:lnTo>
                  <a:lnTo>
                    <a:pt x="143" y="2072"/>
                  </a:lnTo>
                  <a:lnTo>
                    <a:pt x="154" y="2072"/>
                  </a:lnTo>
                  <a:lnTo>
                    <a:pt x="164" y="2071"/>
                  </a:lnTo>
                  <a:lnTo>
                    <a:pt x="175" y="2069"/>
                  </a:lnTo>
                  <a:lnTo>
                    <a:pt x="184" y="2065"/>
                  </a:lnTo>
                  <a:lnTo>
                    <a:pt x="194" y="2061"/>
                  </a:lnTo>
                  <a:lnTo>
                    <a:pt x="202" y="2056"/>
                  </a:lnTo>
                  <a:lnTo>
                    <a:pt x="209" y="2050"/>
                  </a:lnTo>
                  <a:lnTo>
                    <a:pt x="215" y="2044"/>
                  </a:lnTo>
                  <a:lnTo>
                    <a:pt x="222" y="2037"/>
                  </a:lnTo>
                  <a:lnTo>
                    <a:pt x="227" y="2028"/>
                  </a:lnTo>
                  <a:lnTo>
                    <a:pt x="232" y="2020"/>
                  </a:lnTo>
                  <a:lnTo>
                    <a:pt x="235" y="2010"/>
                  </a:lnTo>
                  <a:lnTo>
                    <a:pt x="238" y="2000"/>
                  </a:lnTo>
                  <a:lnTo>
                    <a:pt x="240" y="1989"/>
                  </a:lnTo>
                  <a:lnTo>
                    <a:pt x="241" y="1977"/>
                  </a:lnTo>
                  <a:lnTo>
                    <a:pt x="242" y="1964"/>
                  </a:lnTo>
                  <a:lnTo>
                    <a:pt x="242" y="1964"/>
                  </a:lnTo>
                  <a:close/>
                  <a:moveTo>
                    <a:pt x="143" y="2016"/>
                  </a:moveTo>
                  <a:lnTo>
                    <a:pt x="74" y="2016"/>
                  </a:lnTo>
                  <a:lnTo>
                    <a:pt x="74" y="1919"/>
                  </a:lnTo>
                  <a:lnTo>
                    <a:pt x="143" y="1919"/>
                  </a:lnTo>
                  <a:lnTo>
                    <a:pt x="143" y="1919"/>
                  </a:lnTo>
                  <a:lnTo>
                    <a:pt x="153" y="1920"/>
                  </a:lnTo>
                  <a:lnTo>
                    <a:pt x="161" y="1921"/>
                  </a:lnTo>
                  <a:lnTo>
                    <a:pt x="169" y="1925"/>
                  </a:lnTo>
                  <a:lnTo>
                    <a:pt x="175" y="1931"/>
                  </a:lnTo>
                  <a:lnTo>
                    <a:pt x="180" y="1937"/>
                  </a:lnTo>
                  <a:lnTo>
                    <a:pt x="183" y="1946"/>
                  </a:lnTo>
                  <a:lnTo>
                    <a:pt x="185" y="1956"/>
                  </a:lnTo>
                  <a:lnTo>
                    <a:pt x="186" y="1967"/>
                  </a:lnTo>
                  <a:lnTo>
                    <a:pt x="186" y="1967"/>
                  </a:lnTo>
                  <a:lnTo>
                    <a:pt x="185" y="1978"/>
                  </a:lnTo>
                  <a:lnTo>
                    <a:pt x="183" y="1988"/>
                  </a:lnTo>
                  <a:lnTo>
                    <a:pt x="179" y="1996"/>
                  </a:lnTo>
                  <a:lnTo>
                    <a:pt x="175" y="2002"/>
                  </a:lnTo>
                  <a:lnTo>
                    <a:pt x="169" y="2009"/>
                  </a:lnTo>
                  <a:lnTo>
                    <a:pt x="161" y="2012"/>
                  </a:lnTo>
                  <a:lnTo>
                    <a:pt x="152" y="2015"/>
                  </a:lnTo>
                  <a:lnTo>
                    <a:pt x="143" y="2016"/>
                  </a:lnTo>
                  <a:lnTo>
                    <a:pt x="143" y="2016"/>
                  </a:lnTo>
                  <a:close/>
                  <a:moveTo>
                    <a:pt x="142" y="1863"/>
                  </a:moveTo>
                  <a:lnTo>
                    <a:pt x="74" y="1863"/>
                  </a:lnTo>
                  <a:lnTo>
                    <a:pt x="74" y="1791"/>
                  </a:lnTo>
                  <a:lnTo>
                    <a:pt x="139" y="1791"/>
                  </a:lnTo>
                  <a:lnTo>
                    <a:pt x="139" y="1791"/>
                  </a:lnTo>
                  <a:lnTo>
                    <a:pt x="148" y="1792"/>
                  </a:lnTo>
                  <a:lnTo>
                    <a:pt x="156" y="1793"/>
                  </a:lnTo>
                  <a:lnTo>
                    <a:pt x="162" y="1796"/>
                  </a:lnTo>
                  <a:lnTo>
                    <a:pt x="168" y="1800"/>
                  </a:lnTo>
                  <a:lnTo>
                    <a:pt x="172" y="1806"/>
                  </a:lnTo>
                  <a:lnTo>
                    <a:pt x="175" y="1812"/>
                  </a:lnTo>
                  <a:lnTo>
                    <a:pt x="176" y="1819"/>
                  </a:lnTo>
                  <a:lnTo>
                    <a:pt x="177" y="1828"/>
                  </a:lnTo>
                  <a:lnTo>
                    <a:pt x="177" y="1828"/>
                  </a:lnTo>
                  <a:lnTo>
                    <a:pt x="177" y="1834"/>
                  </a:lnTo>
                  <a:lnTo>
                    <a:pt x="176" y="1840"/>
                  </a:lnTo>
                  <a:lnTo>
                    <a:pt x="174" y="1846"/>
                  </a:lnTo>
                  <a:lnTo>
                    <a:pt x="171" y="1851"/>
                  </a:lnTo>
                  <a:lnTo>
                    <a:pt x="165" y="1856"/>
                  </a:lnTo>
                  <a:lnTo>
                    <a:pt x="159" y="1860"/>
                  </a:lnTo>
                  <a:lnTo>
                    <a:pt x="152" y="1862"/>
                  </a:lnTo>
                  <a:lnTo>
                    <a:pt x="142" y="1863"/>
                  </a:lnTo>
                  <a:lnTo>
                    <a:pt x="142" y="1863"/>
                  </a:lnTo>
                  <a:close/>
                  <a:moveTo>
                    <a:pt x="279" y="1965"/>
                  </a:moveTo>
                  <a:lnTo>
                    <a:pt x="279" y="1825"/>
                  </a:lnTo>
                  <a:lnTo>
                    <a:pt x="331" y="1825"/>
                  </a:lnTo>
                  <a:lnTo>
                    <a:pt x="331" y="1962"/>
                  </a:lnTo>
                  <a:lnTo>
                    <a:pt x="331" y="1962"/>
                  </a:lnTo>
                  <a:lnTo>
                    <a:pt x="331" y="1975"/>
                  </a:lnTo>
                  <a:lnTo>
                    <a:pt x="333" y="1989"/>
                  </a:lnTo>
                  <a:lnTo>
                    <a:pt x="336" y="1999"/>
                  </a:lnTo>
                  <a:lnTo>
                    <a:pt x="340" y="2007"/>
                  </a:lnTo>
                  <a:lnTo>
                    <a:pt x="346" y="2013"/>
                  </a:lnTo>
                  <a:lnTo>
                    <a:pt x="352" y="2018"/>
                  </a:lnTo>
                  <a:lnTo>
                    <a:pt x="360" y="2021"/>
                  </a:lnTo>
                  <a:lnTo>
                    <a:pt x="369" y="2022"/>
                  </a:lnTo>
                  <a:lnTo>
                    <a:pt x="369" y="2022"/>
                  </a:lnTo>
                  <a:lnTo>
                    <a:pt x="379" y="2021"/>
                  </a:lnTo>
                  <a:lnTo>
                    <a:pt x="386" y="2018"/>
                  </a:lnTo>
                  <a:lnTo>
                    <a:pt x="393" y="2013"/>
                  </a:lnTo>
                  <a:lnTo>
                    <a:pt x="399" y="2007"/>
                  </a:lnTo>
                  <a:lnTo>
                    <a:pt x="403" y="1999"/>
                  </a:lnTo>
                  <a:lnTo>
                    <a:pt x="406" y="1988"/>
                  </a:lnTo>
                  <a:lnTo>
                    <a:pt x="408" y="1975"/>
                  </a:lnTo>
                  <a:lnTo>
                    <a:pt x="408" y="1962"/>
                  </a:lnTo>
                  <a:lnTo>
                    <a:pt x="408" y="1825"/>
                  </a:lnTo>
                  <a:lnTo>
                    <a:pt x="460" y="1825"/>
                  </a:lnTo>
                  <a:lnTo>
                    <a:pt x="460" y="2072"/>
                  </a:lnTo>
                  <a:lnTo>
                    <a:pt x="408" y="2072"/>
                  </a:lnTo>
                  <a:lnTo>
                    <a:pt x="408" y="2053"/>
                  </a:lnTo>
                  <a:lnTo>
                    <a:pt x="408" y="2053"/>
                  </a:lnTo>
                  <a:lnTo>
                    <a:pt x="404" y="2059"/>
                  </a:lnTo>
                  <a:lnTo>
                    <a:pt x="398" y="2064"/>
                  </a:lnTo>
                  <a:lnTo>
                    <a:pt x="392" y="2069"/>
                  </a:lnTo>
                  <a:lnTo>
                    <a:pt x="386" y="2071"/>
                  </a:lnTo>
                  <a:lnTo>
                    <a:pt x="380" y="2075"/>
                  </a:lnTo>
                  <a:lnTo>
                    <a:pt x="373" y="2076"/>
                  </a:lnTo>
                  <a:lnTo>
                    <a:pt x="365" y="2077"/>
                  </a:lnTo>
                  <a:lnTo>
                    <a:pt x="358" y="2079"/>
                  </a:lnTo>
                  <a:lnTo>
                    <a:pt x="358" y="2079"/>
                  </a:lnTo>
                  <a:lnTo>
                    <a:pt x="346" y="2077"/>
                  </a:lnTo>
                  <a:lnTo>
                    <a:pt x="335" y="2075"/>
                  </a:lnTo>
                  <a:lnTo>
                    <a:pt x="326" y="2071"/>
                  </a:lnTo>
                  <a:lnTo>
                    <a:pt x="316" y="2066"/>
                  </a:lnTo>
                  <a:lnTo>
                    <a:pt x="309" y="2060"/>
                  </a:lnTo>
                  <a:lnTo>
                    <a:pt x="303" y="2054"/>
                  </a:lnTo>
                  <a:lnTo>
                    <a:pt x="298" y="2045"/>
                  </a:lnTo>
                  <a:lnTo>
                    <a:pt x="292" y="2037"/>
                  </a:lnTo>
                  <a:lnTo>
                    <a:pt x="289" y="2028"/>
                  </a:lnTo>
                  <a:lnTo>
                    <a:pt x="286" y="2020"/>
                  </a:lnTo>
                  <a:lnTo>
                    <a:pt x="282" y="2000"/>
                  </a:lnTo>
                  <a:lnTo>
                    <a:pt x="280" y="1981"/>
                  </a:lnTo>
                  <a:lnTo>
                    <a:pt x="279" y="1965"/>
                  </a:lnTo>
                  <a:lnTo>
                    <a:pt x="279" y="1965"/>
                  </a:lnTo>
                  <a:close/>
                  <a:moveTo>
                    <a:pt x="1070" y="2072"/>
                  </a:moveTo>
                  <a:lnTo>
                    <a:pt x="1018" y="2072"/>
                  </a:lnTo>
                  <a:lnTo>
                    <a:pt x="1018" y="1825"/>
                  </a:lnTo>
                  <a:lnTo>
                    <a:pt x="1070" y="1825"/>
                  </a:lnTo>
                  <a:lnTo>
                    <a:pt x="1070" y="1846"/>
                  </a:lnTo>
                  <a:lnTo>
                    <a:pt x="1070" y="1846"/>
                  </a:lnTo>
                  <a:lnTo>
                    <a:pt x="1075" y="1840"/>
                  </a:lnTo>
                  <a:lnTo>
                    <a:pt x="1080" y="1834"/>
                  </a:lnTo>
                  <a:lnTo>
                    <a:pt x="1087" y="1830"/>
                  </a:lnTo>
                  <a:lnTo>
                    <a:pt x="1093" y="1827"/>
                  </a:lnTo>
                  <a:lnTo>
                    <a:pt x="1100" y="1823"/>
                  </a:lnTo>
                  <a:lnTo>
                    <a:pt x="1106" y="1822"/>
                  </a:lnTo>
                  <a:lnTo>
                    <a:pt x="1115" y="1820"/>
                  </a:lnTo>
                  <a:lnTo>
                    <a:pt x="1122" y="1819"/>
                  </a:lnTo>
                  <a:lnTo>
                    <a:pt x="1122" y="1819"/>
                  </a:lnTo>
                  <a:lnTo>
                    <a:pt x="1131" y="1820"/>
                  </a:lnTo>
                  <a:lnTo>
                    <a:pt x="1140" y="1822"/>
                  </a:lnTo>
                  <a:lnTo>
                    <a:pt x="1148" y="1824"/>
                  </a:lnTo>
                  <a:lnTo>
                    <a:pt x="1155" y="1827"/>
                  </a:lnTo>
                  <a:lnTo>
                    <a:pt x="1163" y="1830"/>
                  </a:lnTo>
                  <a:lnTo>
                    <a:pt x="1169" y="1836"/>
                  </a:lnTo>
                  <a:lnTo>
                    <a:pt x="1174" y="1841"/>
                  </a:lnTo>
                  <a:lnTo>
                    <a:pt x="1179" y="1849"/>
                  </a:lnTo>
                  <a:lnTo>
                    <a:pt x="1184" y="1856"/>
                  </a:lnTo>
                  <a:lnTo>
                    <a:pt x="1187" y="1865"/>
                  </a:lnTo>
                  <a:lnTo>
                    <a:pt x="1192" y="1873"/>
                  </a:lnTo>
                  <a:lnTo>
                    <a:pt x="1194" y="1883"/>
                  </a:lnTo>
                  <a:lnTo>
                    <a:pt x="1196" y="1894"/>
                  </a:lnTo>
                  <a:lnTo>
                    <a:pt x="1198" y="1906"/>
                  </a:lnTo>
                  <a:lnTo>
                    <a:pt x="1199" y="1919"/>
                  </a:lnTo>
                  <a:lnTo>
                    <a:pt x="1199" y="1932"/>
                  </a:lnTo>
                  <a:lnTo>
                    <a:pt x="1199" y="2072"/>
                  </a:lnTo>
                  <a:lnTo>
                    <a:pt x="1147" y="2072"/>
                  </a:lnTo>
                  <a:lnTo>
                    <a:pt x="1147" y="1936"/>
                  </a:lnTo>
                  <a:lnTo>
                    <a:pt x="1147" y="1936"/>
                  </a:lnTo>
                  <a:lnTo>
                    <a:pt x="1147" y="1921"/>
                  </a:lnTo>
                  <a:lnTo>
                    <a:pt x="1145" y="1909"/>
                  </a:lnTo>
                  <a:lnTo>
                    <a:pt x="1142" y="1899"/>
                  </a:lnTo>
                  <a:lnTo>
                    <a:pt x="1138" y="1890"/>
                  </a:lnTo>
                  <a:lnTo>
                    <a:pt x="1132" y="1884"/>
                  </a:lnTo>
                  <a:lnTo>
                    <a:pt x="1126" y="1879"/>
                  </a:lnTo>
                  <a:lnTo>
                    <a:pt x="1119" y="1877"/>
                  </a:lnTo>
                  <a:lnTo>
                    <a:pt x="1109" y="1876"/>
                  </a:lnTo>
                  <a:lnTo>
                    <a:pt x="1109" y="1876"/>
                  </a:lnTo>
                  <a:lnTo>
                    <a:pt x="1100" y="1877"/>
                  </a:lnTo>
                  <a:lnTo>
                    <a:pt x="1092" y="1879"/>
                  </a:lnTo>
                  <a:lnTo>
                    <a:pt x="1085" y="1884"/>
                  </a:lnTo>
                  <a:lnTo>
                    <a:pt x="1080" y="1890"/>
                  </a:lnTo>
                  <a:lnTo>
                    <a:pt x="1075" y="1899"/>
                  </a:lnTo>
                  <a:lnTo>
                    <a:pt x="1072" y="1910"/>
                  </a:lnTo>
                  <a:lnTo>
                    <a:pt x="1070" y="1922"/>
                  </a:lnTo>
                  <a:lnTo>
                    <a:pt x="1070" y="1936"/>
                  </a:lnTo>
                  <a:lnTo>
                    <a:pt x="1070" y="2072"/>
                  </a:lnTo>
                  <a:close/>
                  <a:moveTo>
                    <a:pt x="559" y="1948"/>
                  </a:moveTo>
                  <a:lnTo>
                    <a:pt x="559" y="2072"/>
                  </a:lnTo>
                  <a:lnTo>
                    <a:pt x="507" y="2072"/>
                  </a:lnTo>
                  <a:lnTo>
                    <a:pt x="507" y="1825"/>
                  </a:lnTo>
                  <a:lnTo>
                    <a:pt x="559" y="1825"/>
                  </a:lnTo>
                  <a:lnTo>
                    <a:pt x="559" y="1948"/>
                  </a:lnTo>
                  <a:close/>
                  <a:moveTo>
                    <a:pt x="605" y="1753"/>
                  </a:moveTo>
                  <a:lnTo>
                    <a:pt x="657" y="1722"/>
                  </a:lnTo>
                  <a:lnTo>
                    <a:pt x="657" y="1946"/>
                  </a:lnTo>
                  <a:lnTo>
                    <a:pt x="657" y="2072"/>
                  </a:lnTo>
                  <a:lnTo>
                    <a:pt x="605" y="2072"/>
                  </a:lnTo>
                  <a:lnTo>
                    <a:pt x="605" y="1753"/>
                  </a:lnTo>
                  <a:close/>
                  <a:moveTo>
                    <a:pt x="821" y="1843"/>
                  </a:moveTo>
                  <a:lnTo>
                    <a:pt x="821" y="1843"/>
                  </a:lnTo>
                  <a:lnTo>
                    <a:pt x="817" y="1836"/>
                  </a:lnTo>
                  <a:lnTo>
                    <a:pt x="812" y="1833"/>
                  </a:lnTo>
                  <a:lnTo>
                    <a:pt x="806" y="1828"/>
                  </a:lnTo>
                  <a:lnTo>
                    <a:pt x="800" y="1825"/>
                  </a:lnTo>
                  <a:lnTo>
                    <a:pt x="794" y="1823"/>
                  </a:lnTo>
                  <a:lnTo>
                    <a:pt x="788" y="1820"/>
                  </a:lnTo>
                  <a:lnTo>
                    <a:pt x="775" y="1819"/>
                  </a:lnTo>
                  <a:lnTo>
                    <a:pt x="775" y="1819"/>
                  </a:lnTo>
                  <a:lnTo>
                    <a:pt x="766" y="1820"/>
                  </a:lnTo>
                  <a:lnTo>
                    <a:pt x="757" y="1822"/>
                  </a:lnTo>
                  <a:lnTo>
                    <a:pt x="748" y="1824"/>
                  </a:lnTo>
                  <a:lnTo>
                    <a:pt x="741" y="1828"/>
                  </a:lnTo>
                  <a:lnTo>
                    <a:pt x="734" y="1833"/>
                  </a:lnTo>
                  <a:lnTo>
                    <a:pt x="726" y="1839"/>
                  </a:lnTo>
                  <a:lnTo>
                    <a:pt x="720" y="1846"/>
                  </a:lnTo>
                  <a:lnTo>
                    <a:pt x="715" y="1854"/>
                  </a:lnTo>
                  <a:lnTo>
                    <a:pt x="710" y="1862"/>
                  </a:lnTo>
                  <a:lnTo>
                    <a:pt x="706" y="1872"/>
                  </a:lnTo>
                  <a:lnTo>
                    <a:pt x="701" y="1882"/>
                  </a:lnTo>
                  <a:lnTo>
                    <a:pt x="698" y="1893"/>
                  </a:lnTo>
                  <a:lnTo>
                    <a:pt x="696" y="1905"/>
                  </a:lnTo>
                  <a:lnTo>
                    <a:pt x="694" y="1919"/>
                  </a:lnTo>
                  <a:lnTo>
                    <a:pt x="693" y="1932"/>
                  </a:lnTo>
                  <a:lnTo>
                    <a:pt x="693" y="1946"/>
                  </a:lnTo>
                  <a:lnTo>
                    <a:pt x="693" y="1946"/>
                  </a:lnTo>
                  <a:lnTo>
                    <a:pt x="693" y="1962"/>
                  </a:lnTo>
                  <a:lnTo>
                    <a:pt x="694" y="1975"/>
                  </a:lnTo>
                  <a:lnTo>
                    <a:pt x="696" y="1989"/>
                  </a:lnTo>
                  <a:lnTo>
                    <a:pt x="698" y="2001"/>
                  </a:lnTo>
                  <a:lnTo>
                    <a:pt x="701" y="2013"/>
                  </a:lnTo>
                  <a:lnTo>
                    <a:pt x="705" y="2024"/>
                  </a:lnTo>
                  <a:lnTo>
                    <a:pt x="709" y="2034"/>
                  </a:lnTo>
                  <a:lnTo>
                    <a:pt x="714" y="2043"/>
                  </a:lnTo>
                  <a:lnTo>
                    <a:pt x="720" y="2052"/>
                  </a:lnTo>
                  <a:lnTo>
                    <a:pt x="725" y="2058"/>
                  </a:lnTo>
                  <a:lnTo>
                    <a:pt x="733" y="2064"/>
                  </a:lnTo>
                  <a:lnTo>
                    <a:pt x="740" y="2069"/>
                  </a:lnTo>
                  <a:lnTo>
                    <a:pt x="747" y="2072"/>
                  </a:lnTo>
                  <a:lnTo>
                    <a:pt x="756" y="2076"/>
                  </a:lnTo>
                  <a:lnTo>
                    <a:pt x="765" y="2077"/>
                  </a:lnTo>
                  <a:lnTo>
                    <a:pt x="774" y="2079"/>
                  </a:lnTo>
                  <a:lnTo>
                    <a:pt x="774" y="2079"/>
                  </a:lnTo>
                  <a:lnTo>
                    <a:pt x="781" y="2077"/>
                  </a:lnTo>
                  <a:lnTo>
                    <a:pt x="787" y="2076"/>
                  </a:lnTo>
                  <a:lnTo>
                    <a:pt x="793" y="2075"/>
                  </a:lnTo>
                  <a:lnTo>
                    <a:pt x="799" y="2072"/>
                  </a:lnTo>
                  <a:lnTo>
                    <a:pt x="804" y="2069"/>
                  </a:lnTo>
                  <a:lnTo>
                    <a:pt x="811" y="2065"/>
                  </a:lnTo>
                  <a:lnTo>
                    <a:pt x="816" y="2060"/>
                  </a:lnTo>
                  <a:lnTo>
                    <a:pt x="821" y="2054"/>
                  </a:lnTo>
                  <a:lnTo>
                    <a:pt x="821" y="2072"/>
                  </a:lnTo>
                  <a:lnTo>
                    <a:pt x="873" y="2072"/>
                  </a:lnTo>
                  <a:lnTo>
                    <a:pt x="873" y="1722"/>
                  </a:lnTo>
                  <a:lnTo>
                    <a:pt x="821" y="1753"/>
                  </a:lnTo>
                  <a:lnTo>
                    <a:pt x="821" y="1843"/>
                  </a:lnTo>
                  <a:close/>
                  <a:moveTo>
                    <a:pt x="785" y="2022"/>
                  </a:moveTo>
                  <a:lnTo>
                    <a:pt x="785" y="2022"/>
                  </a:lnTo>
                  <a:lnTo>
                    <a:pt x="778" y="2021"/>
                  </a:lnTo>
                  <a:lnTo>
                    <a:pt x="771" y="2018"/>
                  </a:lnTo>
                  <a:lnTo>
                    <a:pt x="765" y="2015"/>
                  </a:lnTo>
                  <a:lnTo>
                    <a:pt x="759" y="2007"/>
                  </a:lnTo>
                  <a:lnTo>
                    <a:pt x="753" y="1997"/>
                  </a:lnTo>
                  <a:lnTo>
                    <a:pt x="749" y="1984"/>
                  </a:lnTo>
                  <a:lnTo>
                    <a:pt x="746" y="1967"/>
                  </a:lnTo>
                  <a:lnTo>
                    <a:pt x="745" y="1945"/>
                  </a:lnTo>
                  <a:lnTo>
                    <a:pt x="745" y="1945"/>
                  </a:lnTo>
                  <a:lnTo>
                    <a:pt x="746" y="1925"/>
                  </a:lnTo>
                  <a:lnTo>
                    <a:pt x="749" y="1910"/>
                  </a:lnTo>
                  <a:lnTo>
                    <a:pt x="753" y="1898"/>
                  </a:lnTo>
                  <a:lnTo>
                    <a:pt x="759" y="1889"/>
                  </a:lnTo>
                  <a:lnTo>
                    <a:pt x="764" y="1882"/>
                  </a:lnTo>
                  <a:lnTo>
                    <a:pt x="771" y="1878"/>
                  </a:lnTo>
                  <a:lnTo>
                    <a:pt x="777" y="1876"/>
                  </a:lnTo>
                  <a:lnTo>
                    <a:pt x="785" y="1876"/>
                  </a:lnTo>
                  <a:lnTo>
                    <a:pt x="785" y="1876"/>
                  </a:lnTo>
                  <a:lnTo>
                    <a:pt x="791" y="1876"/>
                  </a:lnTo>
                  <a:lnTo>
                    <a:pt x="797" y="1878"/>
                  </a:lnTo>
                  <a:lnTo>
                    <a:pt x="803" y="1881"/>
                  </a:lnTo>
                  <a:lnTo>
                    <a:pt x="808" y="1884"/>
                  </a:lnTo>
                  <a:lnTo>
                    <a:pt x="812" y="1888"/>
                  </a:lnTo>
                  <a:lnTo>
                    <a:pt x="816" y="1892"/>
                  </a:lnTo>
                  <a:lnTo>
                    <a:pt x="821" y="1900"/>
                  </a:lnTo>
                  <a:lnTo>
                    <a:pt x="821" y="1997"/>
                  </a:lnTo>
                  <a:lnTo>
                    <a:pt x="821" y="1997"/>
                  </a:lnTo>
                  <a:lnTo>
                    <a:pt x="815" y="2006"/>
                  </a:lnTo>
                  <a:lnTo>
                    <a:pt x="808" y="2013"/>
                  </a:lnTo>
                  <a:lnTo>
                    <a:pt x="803" y="2017"/>
                  </a:lnTo>
                  <a:lnTo>
                    <a:pt x="797" y="2020"/>
                  </a:lnTo>
                  <a:lnTo>
                    <a:pt x="792" y="2021"/>
                  </a:lnTo>
                  <a:lnTo>
                    <a:pt x="785" y="2022"/>
                  </a:lnTo>
                  <a:lnTo>
                    <a:pt x="785" y="2022"/>
                  </a:lnTo>
                  <a:close/>
                  <a:moveTo>
                    <a:pt x="1951" y="1819"/>
                  </a:moveTo>
                  <a:lnTo>
                    <a:pt x="1951" y="1819"/>
                  </a:lnTo>
                  <a:lnTo>
                    <a:pt x="1946" y="1820"/>
                  </a:lnTo>
                  <a:lnTo>
                    <a:pt x="1940" y="1822"/>
                  </a:lnTo>
                  <a:lnTo>
                    <a:pt x="1927" y="1825"/>
                  </a:lnTo>
                  <a:lnTo>
                    <a:pt x="1916" y="1833"/>
                  </a:lnTo>
                  <a:lnTo>
                    <a:pt x="1906" y="1843"/>
                  </a:lnTo>
                  <a:lnTo>
                    <a:pt x="1906" y="1728"/>
                  </a:lnTo>
                  <a:lnTo>
                    <a:pt x="1854" y="1759"/>
                  </a:lnTo>
                  <a:lnTo>
                    <a:pt x="1854" y="2072"/>
                  </a:lnTo>
                  <a:lnTo>
                    <a:pt x="1906" y="2072"/>
                  </a:lnTo>
                  <a:lnTo>
                    <a:pt x="1906" y="2054"/>
                  </a:lnTo>
                  <a:lnTo>
                    <a:pt x="1906" y="2054"/>
                  </a:lnTo>
                  <a:lnTo>
                    <a:pt x="1910" y="2060"/>
                  </a:lnTo>
                  <a:lnTo>
                    <a:pt x="1916" y="2065"/>
                  </a:lnTo>
                  <a:lnTo>
                    <a:pt x="1921" y="2069"/>
                  </a:lnTo>
                  <a:lnTo>
                    <a:pt x="1927" y="2072"/>
                  </a:lnTo>
                  <a:lnTo>
                    <a:pt x="1933" y="2075"/>
                  </a:lnTo>
                  <a:lnTo>
                    <a:pt x="1940" y="2076"/>
                  </a:lnTo>
                  <a:lnTo>
                    <a:pt x="1946" y="2077"/>
                  </a:lnTo>
                  <a:lnTo>
                    <a:pt x="1952" y="2079"/>
                  </a:lnTo>
                  <a:lnTo>
                    <a:pt x="1952" y="2079"/>
                  </a:lnTo>
                  <a:lnTo>
                    <a:pt x="1962" y="2077"/>
                  </a:lnTo>
                  <a:lnTo>
                    <a:pt x="1971" y="2076"/>
                  </a:lnTo>
                  <a:lnTo>
                    <a:pt x="1979" y="2074"/>
                  </a:lnTo>
                  <a:lnTo>
                    <a:pt x="1988" y="2069"/>
                  </a:lnTo>
                  <a:lnTo>
                    <a:pt x="1995" y="2064"/>
                  </a:lnTo>
                  <a:lnTo>
                    <a:pt x="2001" y="2059"/>
                  </a:lnTo>
                  <a:lnTo>
                    <a:pt x="2008" y="2052"/>
                  </a:lnTo>
                  <a:lnTo>
                    <a:pt x="2013" y="2044"/>
                  </a:lnTo>
                  <a:lnTo>
                    <a:pt x="2018" y="2034"/>
                  </a:lnTo>
                  <a:lnTo>
                    <a:pt x="2022" y="2024"/>
                  </a:lnTo>
                  <a:lnTo>
                    <a:pt x="2025" y="2013"/>
                  </a:lnTo>
                  <a:lnTo>
                    <a:pt x="2028" y="2002"/>
                  </a:lnTo>
                  <a:lnTo>
                    <a:pt x="2032" y="1990"/>
                  </a:lnTo>
                  <a:lnTo>
                    <a:pt x="2033" y="1977"/>
                  </a:lnTo>
                  <a:lnTo>
                    <a:pt x="2034" y="1962"/>
                  </a:lnTo>
                  <a:lnTo>
                    <a:pt x="2035" y="1946"/>
                  </a:lnTo>
                  <a:lnTo>
                    <a:pt x="2035" y="1946"/>
                  </a:lnTo>
                  <a:lnTo>
                    <a:pt x="2034" y="1932"/>
                  </a:lnTo>
                  <a:lnTo>
                    <a:pt x="2033" y="1919"/>
                  </a:lnTo>
                  <a:lnTo>
                    <a:pt x="2030" y="1905"/>
                  </a:lnTo>
                  <a:lnTo>
                    <a:pt x="2028" y="1893"/>
                  </a:lnTo>
                  <a:lnTo>
                    <a:pt x="2025" y="1882"/>
                  </a:lnTo>
                  <a:lnTo>
                    <a:pt x="2021" y="1872"/>
                  </a:lnTo>
                  <a:lnTo>
                    <a:pt x="2017" y="1862"/>
                  </a:lnTo>
                  <a:lnTo>
                    <a:pt x="2012" y="1854"/>
                  </a:lnTo>
                  <a:lnTo>
                    <a:pt x="2007" y="1846"/>
                  </a:lnTo>
                  <a:lnTo>
                    <a:pt x="2000" y="1839"/>
                  </a:lnTo>
                  <a:lnTo>
                    <a:pt x="1993" y="1833"/>
                  </a:lnTo>
                  <a:lnTo>
                    <a:pt x="1986" y="1828"/>
                  </a:lnTo>
                  <a:lnTo>
                    <a:pt x="1978" y="1824"/>
                  </a:lnTo>
                  <a:lnTo>
                    <a:pt x="1970" y="1822"/>
                  </a:lnTo>
                  <a:lnTo>
                    <a:pt x="1961" y="1820"/>
                  </a:lnTo>
                  <a:lnTo>
                    <a:pt x="1951" y="1819"/>
                  </a:lnTo>
                  <a:lnTo>
                    <a:pt x="1951" y="1819"/>
                  </a:lnTo>
                  <a:close/>
                  <a:moveTo>
                    <a:pt x="1942" y="1876"/>
                  </a:moveTo>
                  <a:lnTo>
                    <a:pt x="1942" y="1876"/>
                  </a:lnTo>
                  <a:lnTo>
                    <a:pt x="1949" y="1877"/>
                  </a:lnTo>
                  <a:lnTo>
                    <a:pt x="1957" y="1879"/>
                  </a:lnTo>
                  <a:lnTo>
                    <a:pt x="1963" y="1884"/>
                  </a:lnTo>
                  <a:lnTo>
                    <a:pt x="1969" y="1892"/>
                  </a:lnTo>
                  <a:lnTo>
                    <a:pt x="1974" y="1900"/>
                  </a:lnTo>
                  <a:lnTo>
                    <a:pt x="1977" y="1913"/>
                  </a:lnTo>
                  <a:lnTo>
                    <a:pt x="1981" y="1927"/>
                  </a:lnTo>
                  <a:lnTo>
                    <a:pt x="1982" y="1945"/>
                  </a:lnTo>
                  <a:lnTo>
                    <a:pt x="1982" y="1945"/>
                  </a:lnTo>
                  <a:lnTo>
                    <a:pt x="1981" y="1963"/>
                  </a:lnTo>
                  <a:lnTo>
                    <a:pt x="1978" y="1979"/>
                  </a:lnTo>
                  <a:lnTo>
                    <a:pt x="1976" y="1991"/>
                  </a:lnTo>
                  <a:lnTo>
                    <a:pt x="1972" y="2002"/>
                  </a:lnTo>
                  <a:lnTo>
                    <a:pt x="1966" y="2011"/>
                  </a:lnTo>
                  <a:lnTo>
                    <a:pt x="1960" y="2017"/>
                  </a:lnTo>
                  <a:lnTo>
                    <a:pt x="1952" y="2021"/>
                  </a:lnTo>
                  <a:lnTo>
                    <a:pt x="1943" y="2022"/>
                  </a:lnTo>
                  <a:lnTo>
                    <a:pt x="1943" y="2022"/>
                  </a:lnTo>
                  <a:lnTo>
                    <a:pt x="1936" y="2021"/>
                  </a:lnTo>
                  <a:lnTo>
                    <a:pt x="1930" y="2020"/>
                  </a:lnTo>
                  <a:lnTo>
                    <a:pt x="1924" y="2016"/>
                  </a:lnTo>
                  <a:lnTo>
                    <a:pt x="1919" y="2013"/>
                  </a:lnTo>
                  <a:lnTo>
                    <a:pt x="1911" y="2005"/>
                  </a:lnTo>
                  <a:lnTo>
                    <a:pt x="1906" y="1999"/>
                  </a:lnTo>
                  <a:lnTo>
                    <a:pt x="1906" y="1900"/>
                  </a:lnTo>
                  <a:lnTo>
                    <a:pt x="1906" y="1900"/>
                  </a:lnTo>
                  <a:lnTo>
                    <a:pt x="1909" y="1895"/>
                  </a:lnTo>
                  <a:lnTo>
                    <a:pt x="1913" y="1890"/>
                  </a:lnTo>
                  <a:lnTo>
                    <a:pt x="1917" y="1886"/>
                  </a:lnTo>
                  <a:lnTo>
                    <a:pt x="1921" y="1882"/>
                  </a:lnTo>
                  <a:lnTo>
                    <a:pt x="1926" y="1879"/>
                  </a:lnTo>
                  <a:lnTo>
                    <a:pt x="1932" y="1877"/>
                  </a:lnTo>
                  <a:lnTo>
                    <a:pt x="1937" y="1876"/>
                  </a:lnTo>
                  <a:lnTo>
                    <a:pt x="1942" y="1876"/>
                  </a:lnTo>
                  <a:lnTo>
                    <a:pt x="1942" y="1876"/>
                  </a:lnTo>
                  <a:close/>
                  <a:moveTo>
                    <a:pt x="1362" y="1843"/>
                  </a:moveTo>
                  <a:lnTo>
                    <a:pt x="1362" y="1843"/>
                  </a:lnTo>
                  <a:lnTo>
                    <a:pt x="1358" y="1838"/>
                  </a:lnTo>
                  <a:lnTo>
                    <a:pt x="1353" y="1833"/>
                  </a:lnTo>
                  <a:lnTo>
                    <a:pt x="1347" y="1829"/>
                  </a:lnTo>
                  <a:lnTo>
                    <a:pt x="1342" y="1825"/>
                  </a:lnTo>
                  <a:lnTo>
                    <a:pt x="1335" y="1823"/>
                  </a:lnTo>
                  <a:lnTo>
                    <a:pt x="1329" y="1820"/>
                  </a:lnTo>
                  <a:lnTo>
                    <a:pt x="1323" y="1820"/>
                  </a:lnTo>
                  <a:lnTo>
                    <a:pt x="1317" y="1819"/>
                  </a:lnTo>
                  <a:lnTo>
                    <a:pt x="1317" y="1819"/>
                  </a:lnTo>
                  <a:lnTo>
                    <a:pt x="1307" y="1820"/>
                  </a:lnTo>
                  <a:lnTo>
                    <a:pt x="1298" y="1822"/>
                  </a:lnTo>
                  <a:lnTo>
                    <a:pt x="1289" y="1824"/>
                  </a:lnTo>
                  <a:lnTo>
                    <a:pt x="1282" y="1828"/>
                  </a:lnTo>
                  <a:lnTo>
                    <a:pt x="1275" y="1833"/>
                  </a:lnTo>
                  <a:lnTo>
                    <a:pt x="1268" y="1839"/>
                  </a:lnTo>
                  <a:lnTo>
                    <a:pt x="1261" y="1846"/>
                  </a:lnTo>
                  <a:lnTo>
                    <a:pt x="1256" y="1854"/>
                  </a:lnTo>
                  <a:lnTo>
                    <a:pt x="1251" y="1862"/>
                  </a:lnTo>
                  <a:lnTo>
                    <a:pt x="1247" y="1872"/>
                  </a:lnTo>
                  <a:lnTo>
                    <a:pt x="1243" y="1882"/>
                  </a:lnTo>
                  <a:lnTo>
                    <a:pt x="1240" y="1893"/>
                  </a:lnTo>
                  <a:lnTo>
                    <a:pt x="1237" y="1905"/>
                  </a:lnTo>
                  <a:lnTo>
                    <a:pt x="1235" y="1919"/>
                  </a:lnTo>
                  <a:lnTo>
                    <a:pt x="1234" y="1932"/>
                  </a:lnTo>
                  <a:lnTo>
                    <a:pt x="1234" y="1946"/>
                  </a:lnTo>
                  <a:lnTo>
                    <a:pt x="1234" y="1946"/>
                  </a:lnTo>
                  <a:lnTo>
                    <a:pt x="1234" y="1962"/>
                  </a:lnTo>
                  <a:lnTo>
                    <a:pt x="1235" y="1975"/>
                  </a:lnTo>
                  <a:lnTo>
                    <a:pt x="1237" y="1989"/>
                  </a:lnTo>
                  <a:lnTo>
                    <a:pt x="1240" y="2001"/>
                  </a:lnTo>
                  <a:lnTo>
                    <a:pt x="1243" y="2013"/>
                  </a:lnTo>
                  <a:lnTo>
                    <a:pt x="1246" y="2024"/>
                  </a:lnTo>
                  <a:lnTo>
                    <a:pt x="1251" y="2034"/>
                  </a:lnTo>
                  <a:lnTo>
                    <a:pt x="1255" y="2043"/>
                  </a:lnTo>
                  <a:lnTo>
                    <a:pt x="1261" y="2052"/>
                  </a:lnTo>
                  <a:lnTo>
                    <a:pt x="1267" y="2058"/>
                  </a:lnTo>
                  <a:lnTo>
                    <a:pt x="1274" y="2064"/>
                  </a:lnTo>
                  <a:lnTo>
                    <a:pt x="1281" y="2069"/>
                  </a:lnTo>
                  <a:lnTo>
                    <a:pt x="1288" y="2072"/>
                  </a:lnTo>
                  <a:lnTo>
                    <a:pt x="1297" y="2076"/>
                  </a:lnTo>
                  <a:lnTo>
                    <a:pt x="1306" y="2077"/>
                  </a:lnTo>
                  <a:lnTo>
                    <a:pt x="1315" y="2077"/>
                  </a:lnTo>
                  <a:lnTo>
                    <a:pt x="1315" y="2077"/>
                  </a:lnTo>
                  <a:lnTo>
                    <a:pt x="1322" y="2077"/>
                  </a:lnTo>
                  <a:lnTo>
                    <a:pt x="1328" y="2076"/>
                  </a:lnTo>
                  <a:lnTo>
                    <a:pt x="1334" y="2075"/>
                  </a:lnTo>
                  <a:lnTo>
                    <a:pt x="1340" y="2072"/>
                  </a:lnTo>
                  <a:lnTo>
                    <a:pt x="1347" y="2069"/>
                  </a:lnTo>
                  <a:lnTo>
                    <a:pt x="1352" y="2064"/>
                  </a:lnTo>
                  <a:lnTo>
                    <a:pt x="1357" y="2060"/>
                  </a:lnTo>
                  <a:lnTo>
                    <a:pt x="1362" y="2054"/>
                  </a:lnTo>
                  <a:lnTo>
                    <a:pt x="1362" y="2060"/>
                  </a:lnTo>
                  <a:lnTo>
                    <a:pt x="1362" y="2060"/>
                  </a:lnTo>
                  <a:lnTo>
                    <a:pt x="1362" y="2070"/>
                  </a:lnTo>
                  <a:lnTo>
                    <a:pt x="1361" y="2081"/>
                  </a:lnTo>
                  <a:lnTo>
                    <a:pt x="1359" y="2092"/>
                  </a:lnTo>
                  <a:lnTo>
                    <a:pt x="1357" y="2097"/>
                  </a:lnTo>
                  <a:lnTo>
                    <a:pt x="1354" y="2102"/>
                  </a:lnTo>
                  <a:lnTo>
                    <a:pt x="1351" y="2107"/>
                  </a:lnTo>
                  <a:lnTo>
                    <a:pt x="1347" y="2112"/>
                  </a:lnTo>
                  <a:lnTo>
                    <a:pt x="1340" y="2115"/>
                  </a:lnTo>
                  <a:lnTo>
                    <a:pt x="1334" y="2118"/>
                  </a:lnTo>
                  <a:lnTo>
                    <a:pt x="1327" y="2122"/>
                  </a:lnTo>
                  <a:lnTo>
                    <a:pt x="1318" y="2123"/>
                  </a:lnTo>
                  <a:lnTo>
                    <a:pt x="1307" y="2125"/>
                  </a:lnTo>
                  <a:lnTo>
                    <a:pt x="1296" y="2125"/>
                  </a:lnTo>
                  <a:lnTo>
                    <a:pt x="1294" y="2125"/>
                  </a:lnTo>
                  <a:lnTo>
                    <a:pt x="1311" y="2173"/>
                  </a:lnTo>
                  <a:lnTo>
                    <a:pt x="1312" y="2173"/>
                  </a:lnTo>
                  <a:lnTo>
                    <a:pt x="1312" y="2173"/>
                  </a:lnTo>
                  <a:lnTo>
                    <a:pt x="1325" y="2173"/>
                  </a:lnTo>
                  <a:lnTo>
                    <a:pt x="1336" y="2171"/>
                  </a:lnTo>
                  <a:lnTo>
                    <a:pt x="1348" y="2168"/>
                  </a:lnTo>
                  <a:lnTo>
                    <a:pt x="1357" y="2165"/>
                  </a:lnTo>
                  <a:lnTo>
                    <a:pt x="1366" y="2161"/>
                  </a:lnTo>
                  <a:lnTo>
                    <a:pt x="1375" y="2156"/>
                  </a:lnTo>
                  <a:lnTo>
                    <a:pt x="1382" y="2149"/>
                  </a:lnTo>
                  <a:lnTo>
                    <a:pt x="1389" y="2143"/>
                  </a:lnTo>
                  <a:lnTo>
                    <a:pt x="1396" y="2134"/>
                  </a:lnTo>
                  <a:lnTo>
                    <a:pt x="1400" y="2124"/>
                  </a:lnTo>
                  <a:lnTo>
                    <a:pt x="1405" y="2114"/>
                  </a:lnTo>
                  <a:lnTo>
                    <a:pt x="1408" y="2103"/>
                  </a:lnTo>
                  <a:lnTo>
                    <a:pt x="1411" y="2091"/>
                  </a:lnTo>
                  <a:lnTo>
                    <a:pt x="1413" y="2079"/>
                  </a:lnTo>
                  <a:lnTo>
                    <a:pt x="1414" y="2065"/>
                  </a:lnTo>
                  <a:lnTo>
                    <a:pt x="1414" y="2049"/>
                  </a:lnTo>
                  <a:lnTo>
                    <a:pt x="1414" y="1825"/>
                  </a:lnTo>
                  <a:lnTo>
                    <a:pt x="1362" y="1825"/>
                  </a:lnTo>
                  <a:lnTo>
                    <a:pt x="1362" y="1843"/>
                  </a:lnTo>
                  <a:close/>
                  <a:moveTo>
                    <a:pt x="1362" y="1900"/>
                  </a:moveTo>
                  <a:lnTo>
                    <a:pt x="1362" y="1997"/>
                  </a:lnTo>
                  <a:lnTo>
                    <a:pt x="1362" y="1997"/>
                  </a:lnTo>
                  <a:lnTo>
                    <a:pt x="1356" y="2006"/>
                  </a:lnTo>
                  <a:lnTo>
                    <a:pt x="1348" y="2015"/>
                  </a:lnTo>
                  <a:lnTo>
                    <a:pt x="1344" y="2017"/>
                  </a:lnTo>
                  <a:lnTo>
                    <a:pt x="1338" y="2020"/>
                  </a:lnTo>
                  <a:lnTo>
                    <a:pt x="1332" y="2021"/>
                  </a:lnTo>
                  <a:lnTo>
                    <a:pt x="1326" y="2022"/>
                  </a:lnTo>
                  <a:lnTo>
                    <a:pt x="1326" y="2022"/>
                  </a:lnTo>
                  <a:lnTo>
                    <a:pt x="1319" y="2021"/>
                  </a:lnTo>
                  <a:lnTo>
                    <a:pt x="1312" y="2018"/>
                  </a:lnTo>
                  <a:lnTo>
                    <a:pt x="1305" y="2013"/>
                  </a:lnTo>
                  <a:lnTo>
                    <a:pt x="1300" y="2007"/>
                  </a:lnTo>
                  <a:lnTo>
                    <a:pt x="1295" y="1997"/>
                  </a:lnTo>
                  <a:lnTo>
                    <a:pt x="1291" y="1984"/>
                  </a:lnTo>
                  <a:lnTo>
                    <a:pt x="1287" y="1967"/>
                  </a:lnTo>
                  <a:lnTo>
                    <a:pt x="1286" y="1945"/>
                  </a:lnTo>
                  <a:lnTo>
                    <a:pt x="1286" y="1945"/>
                  </a:lnTo>
                  <a:lnTo>
                    <a:pt x="1287" y="1925"/>
                  </a:lnTo>
                  <a:lnTo>
                    <a:pt x="1291" y="1910"/>
                  </a:lnTo>
                  <a:lnTo>
                    <a:pt x="1295" y="1898"/>
                  </a:lnTo>
                  <a:lnTo>
                    <a:pt x="1300" y="1889"/>
                  </a:lnTo>
                  <a:lnTo>
                    <a:pt x="1305" y="1882"/>
                  </a:lnTo>
                  <a:lnTo>
                    <a:pt x="1312" y="1878"/>
                  </a:lnTo>
                  <a:lnTo>
                    <a:pt x="1319" y="1876"/>
                  </a:lnTo>
                  <a:lnTo>
                    <a:pt x="1326" y="1876"/>
                  </a:lnTo>
                  <a:lnTo>
                    <a:pt x="1326" y="1876"/>
                  </a:lnTo>
                  <a:lnTo>
                    <a:pt x="1332" y="1876"/>
                  </a:lnTo>
                  <a:lnTo>
                    <a:pt x="1338" y="1878"/>
                  </a:lnTo>
                  <a:lnTo>
                    <a:pt x="1345" y="1881"/>
                  </a:lnTo>
                  <a:lnTo>
                    <a:pt x="1349" y="1883"/>
                  </a:lnTo>
                  <a:lnTo>
                    <a:pt x="1353" y="1888"/>
                  </a:lnTo>
                  <a:lnTo>
                    <a:pt x="1357" y="1892"/>
                  </a:lnTo>
                  <a:lnTo>
                    <a:pt x="1362" y="1900"/>
                  </a:lnTo>
                  <a:lnTo>
                    <a:pt x="1362" y="1900"/>
                  </a:lnTo>
                  <a:close/>
                  <a:moveTo>
                    <a:pt x="1576" y="1886"/>
                  </a:moveTo>
                  <a:lnTo>
                    <a:pt x="1576" y="1886"/>
                  </a:lnTo>
                  <a:lnTo>
                    <a:pt x="1588" y="1878"/>
                  </a:lnTo>
                  <a:lnTo>
                    <a:pt x="1601" y="1873"/>
                  </a:lnTo>
                  <a:lnTo>
                    <a:pt x="1614" y="1870"/>
                  </a:lnTo>
                  <a:lnTo>
                    <a:pt x="1629" y="1868"/>
                  </a:lnTo>
                  <a:lnTo>
                    <a:pt x="1629" y="1868"/>
                  </a:lnTo>
                  <a:lnTo>
                    <a:pt x="1638" y="1870"/>
                  </a:lnTo>
                  <a:lnTo>
                    <a:pt x="1645" y="1871"/>
                  </a:lnTo>
                  <a:lnTo>
                    <a:pt x="1652" y="1873"/>
                  </a:lnTo>
                  <a:lnTo>
                    <a:pt x="1657" y="1878"/>
                  </a:lnTo>
                  <a:lnTo>
                    <a:pt x="1661" y="1883"/>
                  </a:lnTo>
                  <a:lnTo>
                    <a:pt x="1664" y="1889"/>
                  </a:lnTo>
                  <a:lnTo>
                    <a:pt x="1666" y="1895"/>
                  </a:lnTo>
                  <a:lnTo>
                    <a:pt x="1666" y="1904"/>
                  </a:lnTo>
                  <a:lnTo>
                    <a:pt x="1666" y="1921"/>
                  </a:lnTo>
                  <a:lnTo>
                    <a:pt x="1666" y="1921"/>
                  </a:lnTo>
                  <a:lnTo>
                    <a:pt x="1657" y="1916"/>
                  </a:lnTo>
                  <a:lnTo>
                    <a:pt x="1645" y="1913"/>
                  </a:lnTo>
                  <a:lnTo>
                    <a:pt x="1634" y="1910"/>
                  </a:lnTo>
                  <a:lnTo>
                    <a:pt x="1621" y="1909"/>
                  </a:lnTo>
                  <a:lnTo>
                    <a:pt x="1621" y="1909"/>
                  </a:lnTo>
                  <a:lnTo>
                    <a:pt x="1607" y="1910"/>
                  </a:lnTo>
                  <a:lnTo>
                    <a:pt x="1592" y="1914"/>
                  </a:lnTo>
                  <a:lnTo>
                    <a:pt x="1579" y="1919"/>
                  </a:lnTo>
                  <a:lnTo>
                    <a:pt x="1572" y="1922"/>
                  </a:lnTo>
                  <a:lnTo>
                    <a:pt x="1565" y="1927"/>
                  </a:lnTo>
                  <a:lnTo>
                    <a:pt x="1560" y="1932"/>
                  </a:lnTo>
                  <a:lnTo>
                    <a:pt x="1555" y="1938"/>
                  </a:lnTo>
                  <a:lnTo>
                    <a:pt x="1550" y="1945"/>
                  </a:lnTo>
                  <a:lnTo>
                    <a:pt x="1546" y="1952"/>
                  </a:lnTo>
                  <a:lnTo>
                    <a:pt x="1542" y="1961"/>
                  </a:lnTo>
                  <a:lnTo>
                    <a:pt x="1540" y="1970"/>
                  </a:lnTo>
                  <a:lnTo>
                    <a:pt x="1539" y="1980"/>
                  </a:lnTo>
                  <a:lnTo>
                    <a:pt x="1538" y="1990"/>
                  </a:lnTo>
                  <a:lnTo>
                    <a:pt x="1538" y="1990"/>
                  </a:lnTo>
                  <a:lnTo>
                    <a:pt x="1539" y="2002"/>
                  </a:lnTo>
                  <a:lnTo>
                    <a:pt x="1540" y="2013"/>
                  </a:lnTo>
                  <a:lnTo>
                    <a:pt x="1542" y="2022"/>
                  </a:lnTo>
                  <a:lnTo>
                    <a:pt x="1546" y="2032"/>
                  </a:lnTo>
                  <a:lnTo>
                    <a:pt x="1549" y="2039"/>
                  </a:lnTo>
                  <a:lnTo>
                    <a:pt x="1554" y="2047"/>
                  </a:lnTo>
                  <a:lnTo>
                    <a:pt x="1558" y="2053"/>
                  </a:lnTo>
                  <a:lnTo>
                    <a:pt x="1564" y="2059"/>
                  </a:lnTo>
                  <a:lnTo>
                    <a:pt x="1569" y="2064"/>
                  </a:lnTo>
                  <a:lnTo>
                    <a:pt x="1576" y="2068"/>
                  </a:lnTo>
                  <a:lnTo>
                    <a:pt x="1589" y="2074"/>
                  </a:lnTo>
                  <a:lnTo>
                    <a:pt x="1603" y="2077"/>
                  </a:lnTo>
                  <a:lnTo>
                    <a:pt x="1616" y="2079"/>
                  </a:lnTo>
                  <a:lnTo>
                    <a:pt x="1616" y="2079"/>
                  </a:lnTo>
                  <a:lnTo>
                    <a:pt x="1628" y="2076"/>
                  </a:lnTo>
                  <a:lnTo>
                    <a:pt x="1635" y="2075"/>
                  </a:lnTo>
                  <a:lnTo>
                    <a:pt x="1641" y="2072"/>
                  </a:lnTo>
                  <a:lnTo>
                    <a:pt x="1649" y="2069"/>
                  </a:lnTo>
                  <a:lnTo>
                    <a:pt x="1655" y="2064"/>
                  </a:lnTo>
                  <a:lnTo>
                    <a:pt x="1661" y="2059"/>
                  </a:lnTo>
                  <a:lnTo>
                    <a:pt x="1666" y="2053"/>
                  </a:lnTo>
                  <a:lnTo>
                    <a:pt x="1666" y="2072"/>
                  </a:lnTo>
                  <a:lnTo>
                    <a:pt x="1718" y="2072"/>
                  </a:lnTo>
                  <a:lnTo>
                    <a:pt x="1718" y="1905"/>
                  </a:lnTo>
                  <a:lnTo>
                    <a:pt x="1718" y="1905"/>
                  </a:lnTo>
                  <a:lnTo>
                    <a:pt x="1718" y="1895"/>
                  </a:lnTo>
                  <a:lnTo>
                    <a:pt x="1717" y="1887"/>
                  </a:lnTo>
                  <a:lnTo>
                    <a:pt x="1715" y="1878"/>
                  </a:lnTo>
                  <a:lnTo>
                    <a:pt x="1713" y="1870"/>
                  </a:lnTo>
                  <a:lnTo>
                    <a:pt x="1709" y="1862"/>
                  </a:lnTo>
                  <a:lnTo>
                    <a:pt x="1706" y="1855"/>
                  </a:lnTo>
                  <a:lnTo>
                    <a:pt x="1701" y="1849"/>
                  </a:lnTo>
                  <a:lnTo>
                    <a:pt x="1695" y="1843"/>
                  </a:lnTo>
                  <a:lnTo>
                    <a:pt x="1690" y="1838"/>
                  </a:lnTo>
                  <a:lnTo>
                    <a:pt x="1684" y="1833"/>
                  </a:lnTo>
                  <a:lnTo>
                    <a:pt x="1677" y="1829"/>
                  </a:lnTo>
                  <a:lnTo>
                    <a:pt x="1669" y="1825"/>
                  </a:lnTo>
                  <a:lnTo>
                    <a:pt x="1661" y="1823"/>
                  </a:lnTo>
                  <a:lnTo>
                    <a:pt x="1653" y="1822"/>
                  </a:lnTo>
                  <a:lnTo>
                    <a:pt x="1643" y="1820"/>
                  </a:lnTo>
                  <a:lnTo>
                    <a:pt x="1634" y="1819"/>
                  </a:lnTo>
                  <a:lnTo>
                    <a:pt x="1634" y="1819"/>
                  </a:lnTo>
                  <a:lnTo>
                    <a:pt x="1623" y="1820"/>
                  </a:lnTo>
                  <a:lnTo>
                    <a:pt x="1613" y="1820"/>
                  </a:lnTo>
                  <a:lnTo>
                    <a:pt x="1603" y="1823"/>
                  </a:lnTo>
                  <a:lnTo>
                    <a:pt x="1592" y="1825"/>
                  </a:lnTo>
                  <a:lnTo>
                    <a:pt x="1583" y="1829"/>
                  </a:lnTo>
                  <a:lnTo>
                    <a:pt x="1574" y="1833"/>
                  </a:lnTo>
                  <a:lnTo>
                    <a:pt x="1564" y="1838"/>
                  </a:lnTo>
                  <a:lnTo>
                    <a:pt x="1555" y="1844"/>
                  </a:lnTo>
                  <a:lnTo>
                    <a:pt x="1576" y="1886"/>
                  </a:lnTo>
                  <a:close/>
                  <a:moveTo>
                    <a:pt x="1590" y="1990"/>
                  </a:moveTo>
                  <a:lnTo>
                    <a:pt x="1590" y="1990"/>
                  </a:lnTo>
                  <a:lnTo>
                    <a:pt x="1590" y="1983"/>
                  </a:lnTo>
                  <a:lnTo>
                    <a:pt x="1592" y="1975"/>
                  </a:lnTo>
                  <a:lnTo>
                    <a:pt x="1595" y="1969"/>
                  </a:lnTo>
                  <a:lnTo>
                    <a:pt x="1600" y="1964"/>
                  </a:lnTo>
                  <a:lnTo>
                    <a:pt x="1605" y="1961"/>
                  </a:lnTo>
                  <a:lnTo>
                    <a:pt x="1611" y="1958"/>
                  </a:lnTo>
                  <a:lnTo>
                    <a:pt x="1618" y="1956"/>
                  </a:lnTo>
                  <a:lnTo>
                    <a:pt x="1626" y="1956"/>
                  </a:lnTo>
                  <a:lnTo>
                    <a:pt x="1626" y="1956"/>
                  </a:lnTo>
                  <a:lnTo>
                    <a:pt x="1637" y="1956"/>
                  </a:lnTo>
                  <a:lnTo>
                    <a:pt x="1647" y="1958"/>
                  </a:lnTo>
                  <a:lnTo>
                    <a:pt x="1657" y="1962"/>
                  </a:lnTo>
                  <a:lnTo>
                    <a:pt x="1666" y="1968"/>
                  </a:lnTo>
                  <a:lnTo>
                    <a:pt x="1666" y="2001"/>
                  </a:lnTo>
                  <a:lnTo>
                    <a:pt x="1666" y="2001"/>
                  </a:lnTo>
                  <a:lnTo>
                    <a:pt x="1664" y="2006"/>
                  </a:lnTo>
                  <a:lnTo>
                    <a:pt x="1660" y="2011"/>
                  </a:lnTo>
                  <a:lnTo>
                    <a:pt x="1656" y="2016"/>
                  </a:lnTo>
                  <a:lnTo>
                    <a:pt x="1651" y="2020"/>
                  </a:lnTo>
                  <a:lnTo>
                    <a:pt x="1645" y="2023"/>
                  </a:lnTo>
                  <a:lnTo>
                    <a:pt x="1639" y="2026"/>
                  </a:lnTo>
                  <a:lnTo>
                    <a:pt x="1633" y="2027"/>
                  </a:lnTo>
                  <a:lnTo>
                    <a:pt x="1626" y="2028"/>
                  </a:lnTo>
                  <a:lnTo>
                    <a:pt x="1626" y="2028"/>
                  </a:lnTo>
                  <a:lnTo>
                    <a:pt x="1618" y="2027"/>
                  </a:lnTo>
                  <a:lnTo>
                    <a:pt x="1611" y="2024"/>
                  </a:lnTo>
                  <a:lnTo>
                    <a:pt x="1605" y="2022"/>
                  </a:lnTo>
                  <a:lnTo>
                    <a:pt x="1600" y="2017"/>
                  </a:lnTo>
                  <a:lnTo>
                    <a:pt x="1595" y="2012"/>
                  </a:lnTo>
                  <a:lnTo>
                    <a:pt x="1592" y="2006"/>
                  </a:lnTo>
                  <a:lnTo>
                    <a:pt x="1591" y="1999"/>
                  </a:lnTo>
                  <a:lnTo>
                    <a:pt x="1590" y="1990"/>
                  </a:lnTo>
                  <a:lnTo>
                    <a:pt x="1590" y="1990"/>
                  </a:lnTo>
                  <a:close/>
                  <a:moveTo>
                    <a:pt x="2200" y="2001"/>
                  </a:moveTo>
                  <a:lnTo>
                    <a:pt x="2200" y="2001"/>
                  </a:lnTo>
                  <a:lnTo>
                    <a:pt x="2193" y="2009"/>
                  </a:lnTo>
                  <a:lnTo>
                    <a:pt x="2183" y="2015"/>
                  </a:lnTo>
                  <a:lnTo>
                    <a:pt x="2178" y="2017"/>
                  </a:lnTo>
                  <a:lnTo>
                    <a:pt x="2172" y="2020"/>
                  </a:lnTo>
                  <a:lnTo>
                    <a:pt x="2166" y="2021"/>
                  </a:lnTo>
                  <a:lnTo>
                    <a:pt x="2160" y="2022"/>
                  </a:lnTo>
                  <a:lnTo>
                    <a:pt x="2160" y="2022"/>
                  </a:lnTo>
                  <a:lnTo>
                    <a:pt x="2154" y="2021"/>
                  </a:lnTo>
                  <a:lnTo>
                    <a:pt x="2148" y="2021"/>
                  </a:lnTo>
                  <a:lnTo>
                    <a:pt x="2141" y="2018"/>
                  </a:lnTo>
                  <a:lnTo>
                    <a:pt x="2132" y="2013"/>
                  </a:lnTo>
                  <a:lnTo>
                    <a:pt x="2125" y="2007"/>
                  </a:lnTo>
                  <a:lnTo>
                    <a:pt x="2122" y="2002"/>
                  </a:lnTo>
                  <a:lnTo>
                    <a:pt x="2119" y="1997"/>
                  </a:lnTo>
                  <a:lnTo>
                    <a:pt x="2117" y="1991"/>
                  </a:lnTo>
                  <a:lnTo>
                    <a:pt x="2115" y="1984"/>
                  </a:lnTo>
                  <a:lnTo>
                    <a:pt x="2114" y="1977"/>
                  </a:lnTo>
                  <a:lnTo>
                    <a:pt x="2113" y="1968"/>
                  </a:lnTo>
                  <a:lnTo>
                    <a:pt x="2241" y="1968"/>
                  </a:lnTo>
                  <a:lnTo>
                    <a:pt x="2241" y="1968"/>
                  </a:lnTo>
                  <a:lnTo>
                    <a:pt x="2242" y="1949"/>
                  </a:lnTo>
                  <a:lnTo>
                    <a:pt x="2242" y="1949"/>
                  </a:lnTo>
                  <a:lnTo>
                    <a:pt x="2242" y="1935"/>
                  </a:lnTo>
                  <a:lnTo>
                    <a:pt x="2240" y="1921"/>
                  </a:lnTo>
                  <a:lnTo>
                    <a:pt x="2239" y="1908"/>
                  </a:lnTo>
                  <a:lnTo>
                    <a:pt x="2236" y="1895"/>
                  </a:lnTo>
                  <a:lnTo>
                    <a:pt x="2232" y="1884"/>
                  </a:lnTo>
                  <a:lnTo>
                    <a:pt x="2228" y="1873"/>
                  </a:lnTo>
                  <a:lnTo>
                    <a:pt x="2223" y="1863"/>
                  </a:lnTo>
                  <a:lnTo>
                    <a:pt x="2218" y="1855"/>
                  </a:lnTo>
                  <a:lnTo>
                    <a:pt x="2212" y="1846"/>
                  </a:lnTo>
                  <a:lnTo>
                    <a:pt x="2205" y="1840"/>
                  </a:lnTo>
                  <a:lnTo>
                    <a:pt x="2198" y="1834"/>
                  </a:lnTo>
                  <a:lnTo>
                    <a:pt x="2190" y="1829"/>
                  </a:lnTo>
                  <a:lnTo>
                    <a:pt x="2181" y="1825"/>
                  </a:lnTo>
                  <a:lnTo>
                    <a:pt x="2173" y="1822"/>
                  </a:lnTo>
                  <a:lnTo>
                    <a:pt x="2164" y="1820"/>
                  </a:lnTo>
                  <a:lnTo>
                    <a:pt x="2153" y="1819"/>
                  </a:lnTo>
                  <a:lnTo>
                    <a:pt x="2153" y="1819"/>
                  </a:lnTo>
                  <a:lnTo>
                    <a:pt x="2144" y="1820"/>
                  </a:lnTo>
                  <a:lnTo>
                    <a:pt x="2135" y="1822"/>
                  </a:lnTo>
                  <a:lnTo>
                    <a:pt x="2125" y="1825"/>
                  </a:lnTo>
                  <a:lnTo>
                    <a:pt x="2116" y="1829"/>
                  </a:lnTo>
                  <a:lnTo>
                    <a:pt x="2108" y="1834"/>
                  </a:lnTo>
                  <a:lnTo>
                    <a:pt x="2100" y="1841"/>
                  </a:lnTo>
                  <a:lnTo>
                    <a:pt x="2093" y="1847"/>
                  </a:lnTo>
                  <a:lnTo>
                    <a:pt x="2087" y="1856"/>
                  </a:lnTo>
                  <a:lnTo>
                    <a:pt x="2080" y="1865"/>
                  </a:lnTo>
                  <a:lnTo>
                    <a:pt x="2075" y="1875"/>
                  </a:lnTo>
                  <a:lnTo>
                    <a:pt x="2071" y="1886"/>
                  </a:lnTo>
                  <a:lnTo>
                    <a:pt x="2067" y="1897"/>
                  </a:lnTo>
                  <a:lnTo>
                    <a:pt x="2064" y="1909"/>
                  </a:lnTo>
                  <a:lnTo>
                    <a:pt x="2062" y="1922"/>
                  </a:lnTo>
                  <a:lnTo>
                    <a:pt x="2061" y="1935"/>
                  </a:lnTo>
                  <a:lnTo>
                    <a:pt x="2060" y="1949"/>
                  </a:lnTo>
                  <a:lnTo>
                    <a:pt x="2060" y="1949"/>
                  </a:lnTo>
                  <a:lnTo>
                    <a:pt x="2061" y="1963"/>
                  </a:lnTo>
                  <a:lnTo>
                    <a:pt x="2062" y="1977"/>
                  </a:lnTo>
                  <a:lnTo>
                    <a:pt x="2064" y="1990"/>
                  </a:lnTo>
                  <a:lnTo>
                    <a:pt x="2067" y="2002"/>
                  </a:lnTo>
                  <a:lnTo>
                    <a:pt x="2071" y="2013"/>
                  </a:lnTo>
                  <a:lnTo>
                    <a:pt x="2075" y="2024"/>
                  </a:lnTo>
                  <a:lnTo>
                    <a:pt x="2080" y="2034"/>
                  </a:lnTo>
                  <a:lnTo>
                    <a:pt x="2087" y="2043"/>
                  </a:lnTo>
                  <a:lnTo>
                    <a:pt x="2094" y="2050"/>
                  </a:lnTo>
                  <a:lnTo>
                    <a:pt x="2101" y="2058"/>
                  </a:lnTo>
                  <a:lnTo>
                    <a:pt x="2110" y="2064"/>
                  </a:lnTo>
                  <a:lnTo>
                    <a:pt x="2118" y="2069"/>
                  </a:lnTo>
                  <a:lnTo>
                    <a:pt x="2127" y="2072"/>
                  </a:lnTo>
                  <a:lnTo>
                    <a:pt x="2138" y="2076"/>
                  </a:lnTo>
                  <a:lnTo>
                    <a:pt x="2148" y="2077"/>
                  </a:lnTo>
                  <a:lnTo>
                    <a:pt x="2160" y="2079"/>
                  </a:lnTo>
                  <a:lnTo>
                    <a:pt x="2160" y="2079"/>
                  </a:lnTo>
                  <a:lnTo>
                    <a:pt x="2170" y="2077"/>
                  </a:lnTo>
                  <a:lnTo>
                    <a:pt x="2179" y="2076"/>
                  </a:lnTo>
                  <a:lnTo>
                    <a:pt x="2190" y="2072"/>
                  </a:lnTo>
                  <a:lnTo>
                    <a:pt x="2199" y="2069"/>
                  </a:lnTo>
                  <a:lnTo>
                    <a:pt x="2208" y="2063"/>
                  </a:lnTo>
                  <a:lnTo>
                    <a:pt x="2217" y="2056"/>
                  </a:lnTo>
                  <a:lnTo>
                    <a:pt x="2225" y="2048"/>
                  </a:lnTo>
                  <a:lnTo>
                    <a:pt x="2233" y="2039"/>
                  </a:lnTo>
                  <a:lnTo>
                    <a:pt x="2200" y="2001"/>
                  </a:lnTo>
                  <a:close/>
                  <a:moveTo>
                    <a:pt x="2114" y="1922"/>
                  </a:moveTo>
                  <a:lnTo>
                    <a:pt x="2114" y="1922"/>
                  </a:lnTo>
                  <a:lnTo>
                    <a:pt x="2115" y="1911"/>
                  </a:lnTo>
                  <a:lnTo>
                    <a:pt x="2117" y="1902"/>
                  </a:lnTo>
                  <a:lnTo>
                    <a:pt x="2120" y="1893"/>
                  </a:lnTo>
                  <a:lnTo>
                    <a:pt x="2125" y="1886"/>
                  </a:lnTo>
                  <a:lnTo>
                    <a:pt x="2130" y="1879"/>
                  </a:lnTo>
                  <a:lnTo>
                    <a:pt x="2137" y="1876"/>
                  </a:lnTo>
                  <a:lnTo>
                    <a:pt x="2144" y="1872"/>
                  </a:lnTo>
                  <a:lnTo>
                    <a:pt x="2152" y="1872"/>
                  </a:lnTo>
                  <a:lnTo>
                    <a:pt x="2152" y="1872"/>
                  </a:lnTo>
                  <a:lnTo>
                    <a:pt x="2162" y="1873"/>
                  </a:lnTo>
                  <a:lnTo>
                    <a:pt x="2170" y="1876"/>
                  </a:lnTo>
                  <a:lnTo>
                    <a:pt x="2176" y="1881"/>
                  </a:lnTo>
                  <a:lnTo>
                    <a:pt x="2181" y="1888"/>
                  </a:lnTo>
                  <a:lnTo>
                    <a:pt x="2186" y="1895"/>
                  </a:lnTo>
                  <a:lnTo>
                    <a:pt x="2189" y="1904"/>
                  </a:lnTo>
                  <a:lnTo>
                    <a:pt x="2191" y="1914"/>
                  </a:lnTo>
                  <a:lnTo>
                    <a:pt x="2192" y="1922"/>
                  </a:lnTo>
                  <a:lnTo>
                    <a:pt x="2114" y="1922"/>
                  </a:lnTo>
                  <a:close/>
                  <a:moveTo>
                    <a:pt x="2701" y="2001"/>
                  </a:moveTo>
                  <a:lnTo>
                    <a:pt x="2701" y="2001"/>
                  </a:lnTo>
                  <a:lnTo>
                    <a:pt x="2692" y="2009"/>
                  </a:lnTo>
                  <a:lnTo>
                    <a:pt x="2684" y="2015"/>
                  </a:lnTo>
                  <a:lnTo>
                    <a:pt x="2678" y="2017"/>
                  </a:lnTo>
                  <a:lnTo>
                    <a:pt x="2673" y="2020"/>
                  </a:lnTo>
                  <a:lnTo>
                    <a:pt x="2666" y="2021"/>
                  </a:lnTo>
                  <a:lnTo>
                    <a:pt x="2659" y="2022"/>
                  </a:lnTo>
                  <a:lnTo>
                    <a:pt x="2659" y="2022"/>
                  </a:lnTo>
                  <a:lnTo>
                    <a:pt x="2654" y="2021"/>
                  </a:lnTo>
                  <a:lnTo>
                    <a:pt x="2648" y="2021"/>
                  </a:lnTo>
                  <a:lnTo>
                    <a:pt x="2640" y="2018"/>
                  </a:lnTo>
                  <a:lnTo>
                    <a:pt x="2633" y="2013"/>
                  </a:lnTo>
                  <a:lnTo>
                    <a:pt x="2626" y="2007"/>
                  </a:lnTo>
                  <a:lnTo>
                    <a:pt x="2623" y="2002"/>
                  </a:lnTo>
                  <a:lnTo>
                    <a:pt x="2620" y="1997"/>
                  </a:lnTo>
                  <a:lnTo>
                    <a:pt x="2617" y="1991"/>
                  </a:lnTo>
                  <a:lnTo>
                    <a:pt x="2615" y="1984"/>
                  </a:lnTo>
                  <a:lnTo>
                    <a:pt x="2613" y="1977"/>
                  </a:lnTo>
                  <a:lnTo>
                    <a:pt x="2612" y="1968"/>
                  </a:lnTo>
                  <a:lnTo>
                    <a:pt x="2741" y="1968"/>
                  </a:lnTo>
                  <a:lnTo>
                    <a:pt x="2741" y="1968"/>
                  </a:lnTo>
                  <a:lnTo>
                    <a:pt x="2742" y="1949"/>
                  </a:lnTo>
                  <a:lnTo>
                    <a:pt x="2742" y="1949"/>
                  </a:lnTo>
                  <a:lnTo>
                    <a:pt x="2741" y="1935"/>
                  </a:lnTo>
                  <a:lnTo>
                    <a:pt x="2740" y="1921"/>
                  </a:lnTo>
                  <a:lnTo>
                    <a:pt x="2738" y="1908"/>
                  </a:lnTo>
                  <a:lnTo>
                    <a:pt x="2736" y="1895"/>
                  </a:lnTo>
                  <a:lnTo>
                    <a:pt x="2732" y="1884"/>
                  </a:lnTo>
                  <a:lnTo>
                    <a:pt x="2728" y="1873"/>
                  </a:lnTo>
                  <a:lnTo>
                    <a:pt x="2724" y="1863"/>
                  </a:lnTo>
                  <a:lnTo>
                    <a:pt x="2718" y="1855"/>
                  </a:lnTo>
                  <a:lnTo>
                    <a:pt x="2712" y="1846"/>
                  </a:lnTo>
                  <a:lnTo>
                    <a:pt x="2705" y="1840"/>
                  </a:lnTo>
                  <a:lnTo>
                    <a:pt x="2698" y="1834"/>
                  </a:lnTo>
                  <a:lnTo>
                    <a:pt x="2690" y="1829"/>
                  </a:lnTo>
                  <a:lnTo>
                    <a:pt x="2682" y="1825"/>
                  </a:lnTo>
                  <a:lnTo>
                    <a:pt x="2673" y="1822"/>
                  </a:lnTo>
                  <a:lnTo>
                    <a:pt x="2663" y="1820"/>
                  </a:lnTo>
                  <a:lnTo>
                    <a:pt x="2654" y="1819"/>
                  </a:lnTo>
                  <a:lnTo>
                    <a:pt x="2654" y="1819"/>
                  </a:lnTo>
                  <a:lnTo>
                    <a:pt x="2643" y="1820"/>
                  </a:lnTo>
                  <a:lnTo>
                    <a:pt x="2634" y="1822"/>
                  </a:lnTo>
                  <a:lnTo>
                    <a:pt x="2625" y="1825"/>
                  </a:lnTo>
                  <a:lnTo>
                    <a:pt x="2616" y="1829"/>
                  </a:lnTo>
                  <a:lnTo>
                    <a:pt x="2608" y="1834"/>
                  </a:lnTo>
                  <a:lnTo>
                    <a:pt x="2600" y="1841"/>
                  </a:lnTo>
                  <a:lnTo>
                    <a:pt x="2594" y="1847"/>
                  </a:lnTo>
                  <a:lnTo>
                    <a:pt x="2586" y="1856"/>
                  </a:lnTo>
                  <a:lnTo>
                    <a:pt x="2580" y="1865"/>
                  </a:lnTo>
                  <a:lnTo>
                    <a:pt x="2575" y="1875"/>
                  </a:lnTo>
                  <a:lnTo>
                    <a:pt x="2571" y="1886"/>
                  </a:lnTo>
                  <a:lnTo>
                    <a:pt x="2566" y="1897"/>
                  </a:lnTo>
                  <a:lnTo>
                    <a:pt x="2564" y="1909"/>
                  </a:lnTo>
                  <a:lnTo>
                    <a:pt x="2561" y="1922"/>
                  </a:lnTo>
                  <a:lnTo>
                    <a:pt x="2560" y="1935"/>
                  </a:lnTo>
                  <a:lnTo>
                    <a:pt x="2560" y="1949"/>
                  </a:lnTo>
                  <a:lnTo>
                    <a:pt x="2560" y="1949"/>
                  </a:lnTo>
                  <a:lnTo>
                    <a:pt x="2560" y="1963"/>
                  </a:lnTo>
                  <a:lnTo>
                    <a:pt x="2561" y="1977"/>
                  </a:lnTo>
                  <a:lnTo>
                    <a:pt x="2563" y="1990"/>
                  </a:lnTo>
                  <a:lnTo>
                    <a:pt x="2566" y="2002"/>
                  </a:lnTo>
                  <a:lnTo>
                    <a:pt x="2571" y="2013"/>
                  </a:lnTo>
                  <a:lnTo>
                    <a:pt x="2576" y="2024"/>
                  </a:lnTo>
                  <a:lnTo>
                    <a:pt x="2581" y="2034"/>
                  </a:lnTo>
                  <a:lnTo>
                    <a:pt x="2587" y="2043"/>
                  </a:lnTo>
                  <a:lnTo>
                    <a:pt x="2594" y="2050"/>
                  </a:lnTo>
                  <a:lnTo>
                    <a:pt x="2601" y="2058"/>
                  </a:lnTo>
                  <a:lnTo>
                    <a:pt x="2609" y="2064"/>
                  </a:lnTo>
                  <a:lnTo>
                    <a:pt x="2619" y="2069"/>
                  </a:lnTo>
                  <a:lnTo>
                    <a:pt x="2628" y="2072"/>
                  </a:lnTo>
                  <a:lnTo>
                    <a:pt x="2637" y="2076"/>
                  </a:lnTo>
                  <a:lnTo>
                    <a:pt x="2649" y="2077"/>
                  </a:lnTo>
                  <a:lnTo>
                    <a:pt x="2659" y="2079"/>
                  </a:lnTo>
                  <a:lnTo>
                    <a:pt x="2659" y="2079"/>
                  </a:lnTo>
                  <a:lnTo>
                    <a:pt x="2670" y="2077"/>
                  </a:lnTo>
                  <a:lnTo>
                    <a:pt x="2680" y="2076"/>
                  </a:lnTo>
                  <a:lnTo>
                    <a:pt x="2689" y="2072"/>
                  </a:lnTo>
                  <a:lnTo>
                    <a:pt x="2699" y="2069"/>
                  </a:lnTo>
                  <a:lnTo>
                    <a:pt x="2708" y="2063"/>
                  </a:lnTo>
                  <a:lnTo>
                    <a:pt x="2717" y="2056"/>
                  </a:lnTo>
                  <a:lnTo>
                    <a:pt x="2726" y="2048"/>
                  </a:lnTo>
                  <a:lnTo>
                    <a:pt x="2733" y="2039"/>
                  </a:lnTo>
                  <a:lnTo>
                    <a:pt x="2701" y="2001"/>
                  </a:lnTo>
                  <a:close/>
                  <a:moveTo>
                    <a:pt x="2613" y="1922"/>
                  </a:moveTo>
                  <a:lnTo>
                    <a:pt x="2613" y="1922"/>
                  </a:lnTo>
                  <a:lnTo>
                    <a:pt x="2614" y="1911"/>
                  </a:lnTo>
                  <a:lnTo>
                    <a:pt x="2617" y="1902"/>
                  </a:lnTo>
                  <a:lnTo>
                    <a:pt x="2621" y="1893"/>
                  </a:lnTo>
                  <a:lnTo>
                    <a:pt x="2625" y="1886"/>
                  </a:lnTo>
                  <a:lnTo>
                    <a:pt x="2631" y="1879"/>
                  </a:lnTo>
                  <a:lnTo>
                    <a:pt x="2637" y="1876"/>
                  </a:lnTo>
                  <a:lnTo>
                    <a:pt x="2645" y="1872"/>
                  </a:lnTo>
                  <a:lnTo>
                    <a:pt x="2653" y="1872"/>
                  </a:lnTo>
                  <a:lnTo>
                    <a:pt x="2653" y="1872"/>
                  </a:lnTo>
                  <a:lnTo>
                    <a:pt x="2662" y="1873"/>
                  </a:lnTo>
                  <a:lnTo>
                    <a:pt x="2670" y="1876"/>
                  </a:lnTo>
                  <a:lnTo>
                    <a:pt x="2677" y="1881"/>
                  </a:lnTo>
                  <a:lnTo>
                    <a:pt x="2682" y="1888"/>
                  </a:lnTo>
                  <a:lnTo>
                    <a:pt x="2686" y="1895"/>
                  </a:lnTo>
                  <a:lnTo>
                    <a:pt x="2689" y="1904"/>
                  </a:lnTo>
                  <a:lnTo>
                    <a:pt x="2691" y="1914"/>
                  </a:lnTo>
                  <a:lnTo>
                    <a:pt x="2692" y="1922"/>
                  </a:lnTo>
                  <a:lnTo>
                    <a:pt x="2613" y="1922"/>
                  </a:lnTo>
                  <a:close/>
                  <a:moveTo>
                    <a:pt x="2488" y="1986"/>
                  </a:moveTo>
                  <a:lnTo>
                    <a:pt x="2488" y="1986"/>
                  </a:lnTo>
                  <a:lnTo>
                    <a:pt x="2488" y="1995"/>
                  </a:lnTo>
                  <a:lnTo>
                    <a:pt x="2489" y="2001"/>
                  </a:lnTo>
                  <a:lnTo>
                    <a:pt x="2492" y="2007"/>
                  </a:lnTo>
                  <a:lnTo>
                    <a:pt x="2494" y="2012"/>
                  </a:lnTo>
                  <a:lnTo>
                    <a:pt x="2497" y="2016"/>
                  </a:lnTo>
                  <a:lnTo>
                    <a:pt x="2501" y="2018"/>
                  </a:lnTo>
                  <a:lnTo>
                    <a:pt x="2505" y="2020"/>
                  </a:lnTo>
                  <a:lnTo>
                    <a:pt x="2511" y="2020"/>
                  </a:lnTo>
                  <a:lnTo>
                    <a:pt x="2511" y="2020"/>
                  </a:lnTo>
                  <a:lnTo>
                    <a:pt x="2519" y="2020"/>
                  </a:lnTo>
                  <a:lnTo>
                    <a:pt x="2527" y="2017"/>
                  </a:lnTo>
                  <a:lnTo>
                    <a:pt x="2535" y="2013"/>
                  </a:lnTo>
                  <a:lnTo>
                    <a:pt x="2543" y="2009"/>
                  </a:lnTo>
                  <a:lnTo>
                    <a:pt x="2536" y="2066"/>
                  </a:lnTo>
                  <a:lnTo>
                    <a:pt x="2536" y="2066"/>
                  </a:lnTo>
                  <a:lnTo>
                    <a:pt x="2527" y="2071"/>
                  </a:lnTo>
                  <a:lnTo>
                    <a:pt x="2515" y="2075"/>
                  </a:lnTo>
                  <a:lnTo>
                    <a:pt x="2504" y="2077"/>
                  </a:lnTo>
                  <a:lnTo>
                    <a:pt x="2493" y="2079"/>
                  </a:lnTo>
                  <a:lnTo>
                    <a:pt x="2493" y="2079"/>
                  </a:lnTo>
                  <a:lnTo>
                    <a:pt x="2485" y="2077"/>
                  </a:lnTo>
                  <a:lnTo>
                    <a:pt x="2478" y="2076"/>
                  </a:lnTo>
                  <a:lnTo>
                    <a:pt x="2472" y="2074"/>
                  </a:lnTo>
                  <a:lnTo>
                    <a:pt x="2467" y="2071"/>
                  </a:lnTo>
                  <a:lnTo>
                    <a:pt x="2461" y="2068"/>
                  </a:lnTo>
                  <a:lnTo>
                    <a:pt x="2456" y="2064"/>
                  </a:lnTo>
                  <a:lnTo>
                    <a:pt x="2453" y="2059"/>
                  </a:lnTo>
                  <a:lnTo>
                    <a:pt x="2449" y="2053"/>
                  </a:lnTo>
                  <a:lnTo>
                    <a:pt x="2444" y="2042"/>
                  </a:lnTo>
                  <a:lnTo>
                    <a:pt x="2440" y="2028"/>
                  </a:lnTo>
                  <a:lnTo>
                    <a:pt x="2437" y="2016"/>
                  </a:lnTo>
                  <a:lnTo>
                    <a:pt x="2436" y="2002"/>
                  </a:lnTo>
                  <a:lnTo>
                    <a:pt x="2436" y="1882"/>
                  </a:lnTo>
                  <a:lnTo>
                    <a:pt x="2404" y="1882"/>
                  </a:lnTo>
                  <a:lnTo>
                    <a:pt x="2404" y="1825"/>
                  </a:lnTo>
                  <a:lnTo>
                    <a:pt x="2436" y="1825"/>
                  </a:lnTo>
                  <a:lnTo>
                    <a:pt x="2436" y="1761"/>
                  </a:lnTo>
                  <a:lnTo>
                    <a:pt x="2488" y="1731"/>
                  </a:lnTo>
                  <a:lnTo>
                    <a:pt x="2488" y="1825"/>
                  </a:lnTo>
                  <a:lnTo>
                    <a:pt x="2535" y="1825"/>
                  </a:lnTo>
                  <a:lnTo>
                    <a:pt x="2535" y="1882"/>
                  </a:lnTo>
                  <a:lnTo>
                    <a:pt x="2488" y="1882"/>
                  </a:lnTo>
                  <a:lnTo>
                    <a:pt x="2488" y="1986"/>
                  </a:lnTo>
                  <a:close/>
                  <a:moveTo>
                    <a:pt x="2387" y="2066"/>
                  </a:moveTo>
                  <a:lnTo>
                    <a:pt x="2387" y="2066"/>
                  </a:lnTo>
                  <a:lnTo>
                    <a:pt x="2378" y="2071"/>
                  </a:lnTo>
                  <a:lnTo>
                    <a:pt x="2368" y="2075"/>
                  </a:lnTo>
                  <a:lnTo>
                    <a:pt x="2356" y="2077"/>
                  </a:lnTo>
                  <a:lnTo>
                    <a:pt x="2345" y="2079"/>
                  </a:lnTo>
                  <a:lnTo>
                    <a:pt x="2345" y="2079"/>
                  </a:lnTo>
                  <a:lnTo>
                    <a:pt x="2336" y="2077"/>
                  </a:lnTo>
                  <a:lnTo>
                    <a:pt x="2330" y="2076"/>
                  </a:lnTo>
                  <a:lnTo>
                    <a:pt x="2324" y="2074"/>
                  </a:lnTo>
                  <a:lnTo>
                    <a:pt x="2318" y="2071"/>
                  </a:lnTo>
                  <a:lnTo>
                    <a:pt x="2314" y="2068"/>
                  </a:lnTo>
                  <a:lnTo>
                    <a:pt x="2308" y="2064"/>
                  </a:lnTo>
                  <a:lnTo>
                    <a:pt x="2304" y="2059"/>
                  </a:lnTo>
                  <a:lnTo>
                    <a:pt x="2301" y="2053"/>
                  </a:lnTo>
                  <a:lnTo>
                    <a:pt x="2295" y="2042"/>
                  </a:lnTo>
                  <a:lnTo>
                    <a:pt x="2292" y="2028"/>
                  </a:lnTo>
                  <a:lnTo>
                    <a:pt x="2289" y="2016"/>
                  </a:lnTo>
                  <a:lnTo>
                    <a:pt x="2289" y="2002"/>
                  </a:lnTo>
                  <a:lnTo>
                    <a:pt x="2289" y="1882"/>
                  </a:lnTo>
                  <a:lnTo>
                    <a:pt x="2256" y="1882"/>
                  </a:lnTo>
                  <a:lnTo>
                    <a:pt x="2256" y="1825"/>
                  </a:lnTo>
                  <a:lnTo>
                    <a:pt x="2289" y="1825"/>
                  </a:lnTo>
                  <a:lnTo>
                    <a:pt x="2289" y="1761"/>
                  </a:lnTo>
                  <a:lnTo>
                    <a:pt x="2341" y="1731"/>
                  </a:lnTo>
                  <a:lnTo>
                    <a:pt x="2341" y="1825"/>
                  </a:lnTo>
                  <a:lnTo>
                    <a:pt x="2384" y="1825"/>
                  </a:lnTo>
                  <a:lnTo>
                    <a:pt x="2384" y="1882"/>
                  </a:lnTo>
                  <a:lnTo>
                    <a:pt x="2341" y="1882"/>
                  </a:lnTo>
                  <a:lnTo>
                    <a:pt x="2341" y="1986"/>
                  </a:lnTo>
                  <a:lnTo>
                    <a:pt x="2341" y="1986"/>
                  </a:lnTo>
                  <a:lnTo>
                    <a:pt x="2341" y="1995"/>
                  </a:lnTo>
                  <a:lnTo>
                    <a:pt x="2342" y="2001"/>
                  </a:lnTo>
                  <a:lnTo>
                    <a:pt x="2344" y="2007"/>
                  </a:lnTo>
                  <a:lnTo>
                    <a:pt x="2346" y="2012"/>
                  </a:lnTo>
                  <a:lnTo>
                    <a:pt x="2349" y="2016"/>
                  </a:lnTo>
                  <a:lnTo>
                    <a:pt x="2353" y="2018"/>
                  </a:lnTo>
                  <a:lnTo>
                    <a:pt x="2357" y="2020"/>
                  </a:lnTo>
                  <a:lnTo>
                    <a:pt x="2362" y="2020"/>
                  </a:lnTo>
                  <a:lnTo>
                    <a:pt x="2362" y="2020"/>
                  </a:lnTo>
                  <a:lnTo>
                    <a:pt x="2371" y="2020"/>
                  </a:lnTo>
                  <a:lnTo>
                    <a:pt x="2379" y="2017"/>
                  </a:lnTo>
                  <a:lnTo>
                    <a:pt x="2386" y="2013"/>
                  </a:lnTo>
                  <a:lnTo>
                    <a:pt x="2394" y="2009"/>
                  </a:lnTo>
                  <a:lnTo>
                    <a:pt x="2387" y="2066"/>
                  </a:lnTo>
                  <a:close/>
                  <a:moveTo>
                    <a:pt x="2898" y="1894"/>
                  </a:moveTo>
                  <a:lnTo>
                    <a:pt x="2898" y="1894"/>
                  </a:lnTo>
                  <a:lnTo>
                    <a:pt x="2891" y="1888"/>
                  </a:lnTo>
                  <a:lnTo>
                    <a:pt x="2883" y="1884"/>
                  </a:lnTo>
                  <a:lnTo>
                    <a:pt x="2873" y="1882"/>
                  </a:lnTo>
                  <a:lnTo>
                    <a:pt x="2864" y="1881"/>
                  </a:lnTo>
                  <a:lnTo>
                    <a:pt x="2864" y="1881"/>
                  </a:lnTo>
                  <a:lnTo>
                    <a:pt x="2856" y="1882"/>
                  </a:lnTo>
                  <a:lnTo>
                    <a:pt x="2847" y="1884"/>
                  </a:lnTo>
                  <a:lnTo>
                    <a:pt x="2841" y="1889"/>
                  </a:lnTo>
                  <a:lnTo>
                    <a:pt x="2836" y="1895"/>
                  </a:lnTo>
                  <a:lnTo>
                    <a:pt x="2832" y="1903"/>
                  </a:lnTo>
                  <a:lnTo>
                    <a:pt x="2830" y="1913"/>
                  </a:lnTo>
                  <a:lnTo>
                    <a:pt x="2828" y="1925"/>
                  </a:lnTo>
                  <a:lnTo>
                    <a:pt x="2827" y="1938"/>
                  </a:lnTo>
                  <a:lnTo>
                    <a:pt x="2827" y="2072"/>
                  </a:lnTo>
                  <a:lnTo>
                    <a:pt x="2776" y="2072"/>
                  </a:lnTo>
                  <a:lnTo>
                    <a:pt x="2776" y="1825"/>
                  </a:lnTo>
                  <a:lnTo>
                    <a:pt x="2827" y="1825"/>
                  </a:lnTo>
                  <a:lnTo>
                    <a:pt x="2827" y="1846"/>
                  </a:lnTo>
                  <a:lnTo>
                    <a:pt x="2827" y="1846"/>
                  </a:lnTo>
                  <a:lnTo>
                    <a:pt x="2832" y="1840"/>
                  </a:lnTo>
                  <a:lnTo>
                    <a:pt x="2837" y="1834"/>
                  </a:lnTo>
                  <a:lnTo>
                    <a:pt x="2842" y="1830"/>
                  </a:lnTo>
                  <a:lnTo>
                    <a:pt x="2849" y="1827"/>
                  </a:lnTo>
                  <a:lnTo>
                    <a:pt x="2854" y="1823"/>
                  </a:lnTo>
                  <a:lnTo>
                    <a:pt x="2860" y="1822"/>
                  </a:lnTo>
                  <a:lnTo>
                    <a:pt x="2866" y="1820"/>
                  </a:lnTo>
                  <a:lnTo>
                    <a:pt x="2873" y="1819"/>
                  </a:lnTo>
                  <a:lnTo>
                    <a:pt x="2873" y="1819"/>
                  </a:lnTo>
                  <a:lnTo>
                    <a:pt x="2884" y="1820"/>
                  </a:lnTo>
                  <a:lnTo>
                    <a:pt x="2894" y="1824"/>
                  </a:lnTo>
                  <a:lnTo>
                    <a:pt x="2904" y="1828"/>
                  </a:lnTo>
                  <a:lnTo>
                    <a:pt x="2912" y="1834"/>
                  </a:lnTo>
                  <a:lnTo>
                    <a:pt x="2898" y="1894"/>
                  </a:lnTo>
                  <a:close/>
                  <a:moveTo>
                    <a:pt x="559" y="1766"/>
                  </a:moveTo>
                  <a:lnTo>
                    <a:pt x="559" y="1790"/>
                  </a:lnTo>
                  <a:lnTo>
                    <a:pt x="507" y="1790"/>
                  </a:lnTo>
                  <a:lnTo>
                    <a:pt x="507" y="1728"/>
                  </a:lnTo>
                  <a:lnTo>
                    <a:pt x="559" y="1728"/>
                  </a:lnTo>
                  <a:lnTo>
                    <a:pt x="559" y="1766"/>
                  </a:lnTo>
                  <a:close/>
                  <a:moveTo>
                    <a:pt x="919" y="1825"/>
                  </a:moveTo>
                  <a:lnTo>
                    <a:pt x="971" y="1825"/>
                  </a:lnTo>
                  <a:lnTo>
                    <a:pt x="971" y="1952"/>
                  </a:lnTo>
                  <a:lnTo>
                    <a:pt x="971" y="2072"/>
                  </a:lnTo>
                  <a:lnTo>
                    <a:pt x="919" y="2072"/>
                  </a:lnTo>
                  <a:lnTo>
                    <a:pt x="919" y="1825"/>
                  </a:lnTo>
                  <a:close/>
                  <a:moveTo>
                    <a:pt x="971" y="1759"/>
                  </a:moveTo>
                  <a:lnTo>
                    <a:pt x="971" y="1790"/>
                  </a:lnTo>
                  <a:lnTo>
                    <a:pt x="919" y="1790"/>
                  </a:lnTo>
                  <a:lnTo>
                    <a:pt x="919" y="1728"/>
                  </a:lnTo>
                  <a:lnTo>
                    <a:pt x="971" y="1728"/>
                  </a:lnTo>
                  <a:lnTo>
                    <a:pt x="971" y="1759"/>
                  </a:lnTo>
                  <a:close/>
                  <a:moveTo>
                    <a:pt x="2395" y="2275"/>
                  </a:moveTo>
                  <a:lnTo>
                    <a:pt x="2395" y="2275"/>
                  </a:lnTo>
                  <a:lnTo>
                    <a:pt x="2390" y="2270"/>
                  </a:lnTo>
                  <a:lnTo>
                    <a:pt x="2384" y="2265"/>
                  </a:lnTo>
                  <a:lnTo>
                    <a:pt x="2379" y="2262"/>
                  </a:lnTo>
                  <a:lnTo>
                    <a:pt x="2373" y="2258"/>
                  </a:lnTo>
                  <a:lnTo>
                    <a:pt x="2368" y="2256"/>
                  </a:lnTo>
                  <a:lnTo>
                    <a:pt x="2361" y="2254"/>
                  </a:lnTo>
                  <a:lnTo>
                    <a:pt x="2348" y="2252"/>
                  </a:lnTo>
                  <a:lnTo>
                    <a:pt x="2348" y="2252"/>
                  </a:lnTo>
                  <a:lnTo>
                    <a:pt x="2339" y="2253"/>
                  </a:lnTo>
                  <a:lnTo>
                    <a:pt x="2330" y="2254"/>
                  </a:lnTo>
                  <a:lnTo>
                    <a:pt x="2322" y="2258"/>
                  </a:lnTo>
                  <a:lnTo>
                    <a:pt x="2314" y="2262"/>
                  </a:lnTo>
                  <a:lnTo>
                    <a:pt x="2306" y="2267"/>
                  </a:lnTo>
                  <a:lnTo>
                    <a:pt x="2300" y="2272"/>
                  </a:lnTo>
                  <a:lnTo>
                    <a:pt x="2294" y="2279"/>
                  </a:lnTo>
                  <a:lnTo>
                    <a:pt x="2288" y="2286"/>
                  </a:lnTo>
                  <a:lnTo>
                    <a:pt x="2283" y="2295"/>
                  </a:lnTo>
                  <a:lnTo>
                    <a:pt x="2278" y="2305"/>
                  </a:lnTo>
                  <a:lnTo>
                    <a:pt x="2275" y="2315"/>
                  </a:lnTo>
                  <a:lnTo>
                    <a:pt x="2272" y="2327"/>
                  </a:lnTo>
                  <a:lnTo>
                    <a:pt x="2269" y="2338"/>
                  </a:lnTo>
                  <a:lnTo>
                    <a:pt x="2268" y="2352"/>
                  </a:lnTo>
                  <a:lnTo>
                    <a:pt x="2267" y="2365"/>
                  </a:lnTo>
                  <a:lnTo>
                    <a:pt x="2266" y="2380"/>
                  </a:lnTo>
                  <a:lnTo>
                    <a:pt x="2266" y="2380"/>
                  </a:lnTo>
                  <a:lnTo>
                    <a:pt x="2267" y="2395"/>
                  </a:lnTo>
                  <a:lnTo>
                    <a:pt x="2268" y="2408"/>
                  </a:lnTo>
                  <a:lnTo>
                    <a:pt x="2269" y="2422"/>
                  </a:lnTo>
                  <a:lnTo>
                    <a:pt x="2272" y="2435"/>
                  </a:lnTo>
                  <a:lnTo>
                    <a:pt x="2274" y="2446"/>
                  </a:lnTo>
                  <a:lnTo>
                    <a:pt x="2278" y="2457"/>
                  </a:lnTo>
                  <a:lnTo>
                    <a:pt x="2282" y="2467"/>
                  </a:lnTo>
                  <a:lnTo>
                    <a:pt x="2288" y="2476"/>
                  </a:lnTo>
                  <a:lnTo>
                    <a:pt x="2293" y="2484"/>
                  </a:lnTo>
                  <a:lnTo>
                    <a:pt x="2299" y="2490"/>
                  </a:lnTo>
                  <a:lnTo>
                    <a:pt x="2305" y="2497"/>
                  </a:lnTo>
                  <a:lnTo>
                    <a:pt x="2313" y="2502"/>
                  </a:lnTo>
                  <a:lnTo>
                    <a:pt x="2321" y="2506"/>
                  </a:lnTo>
                  <a:lnTo>
                    <a:pt x="2329" y="2509"/>
                  </a:lnTo>
                  <a:lnTo>
                    <a:pt x="2338" y="2510"/>
                  </a:lnTo>
                  <a:lnTo>
                    <a:pt x="2347" y="2511"/>
                  </a:lnTo>
                  <a:lnTo>
                    <a:pt x="2347" y="2511"/>
                  </a:lnTo>
                  <a:lnTo>
                    <a:pt x="2353" y="2510"/>
                  </a:lnTo>
                  <a:lnTo>
                    <a:pt x="2360" y="2509"/>
                  </a:lnTo>
                  <a:lnTo>
                    <a:pt x="2367" y="2508"/>
                  </a:lnTo>
                  <a:lnTo>
                    <a:pt x="2372" y="2505"/>
                  </a:lnTo>
                  <a:lnTo>
                    <a:pt x="2378" y="2502"/>
                  </a:lnTo>
                  <a:lnTo>
                    <a:pt x="2384" y="2498"/>
                  </a:lnTo>
                  <a:lnTo>
                    <a:pt x="2390" y="2493"/>
                  </a:lnTo>
                  <a:lnTo>
                    <a:pt x="2395" y="2487"/>
                  </a:lnTo>
                  <a:lnTo>
                    <a:pt x="2395" y="2505"/>
                  </a:lnTo>
                  <a:lnTo>
                    <a:pt x="2447" y="2505"/>
                  </a:lnTo>
                  <a:lnTo>
                    <a:pt x="2447" y="2155"/>
                  </a:lnTo>
                  <a:lnTo>
                    <a:pt x="2395" y="2186"/>
                  </a:lnTo>
                  <a:lnTo>
                    <a:pt x="2395" y="2275"/>
                  </a:lnTo>
                  <a:close/>
                  <a:moveTo>
                    <a:pt x="2358" y="2455"/>
                  </a:moveTo>
                  <a:lnTo>
                    <a:pt x="2358" y="2455"/>
                  </a:lnTo>
                  <a:lnTo>
                    <a:pt x="2351" y="2454"/>
                  </a:lnTo>
                  <a:lnTo>
                    <a:pt x="2345" y="2451"/>
                  </a:lnTo>
                  <a:lnTo>
                    <a:pt x="2338" y="2447"/>
                  </a:lnTo>
                  <a:lnTo>
                    <a:pt x="2331" y="2440"/>
                  </a:lnTo>
                  <a:lnTo>
                    <a:pt x="2326" y="2430"/>
                  </a:lnTo>
                  <a:lnTo>
                    <a:pt x="2322" y="2417"/>
                  </a:lnTo>
                  <a:lnTo>
                    <a:pt x="2320" y="2399"/>
                  </a:lnTo>
                  <a:lnTo>
                    <a:pt x="2319" y="2377"/>
                  </a:lnTo>
                  <a:lnTo>
                    <a:pt x="2319" y="2377"/>
                  </a:lnTo>
                  <a:lnTo>
                    <a:pt x="2320" y="2359"/>
                  </a:lnTo>
                  <a:lnTo>
                    <a:pt x="2322" y="2343"/>
                  </a:lnTo>
                  <a:lnTo>
                    <a:pt x="2326" y="2331"/>
                  </a:lnTo>
                  <a:lnTo>
                    <a:pt x="2331" y="2322"/>
                  </a:lnTo>
                  <a:lnTo>
                    <a:pt x="2338" y="2316"/>
                  </a:lnTo>
                  <a:lnTo>
                    <a:pt x="2344" y="2311"/>
                  </a:lnTo>
                  <a:lnTo>
                    <a:pt x="2351" y="2310"/>
                  </a:lnTo>
                  <a:lnTo>
                    <a:pt x="2357" y="2308"/>
                  </a:lnTo>
                  <a:lnTo>
                    <a:pt x="2357" y="2308"/>
                  </a:lnTo>
                  <a:lnTo>
                    <a:pt x="2365" y="2310"/>
                  </a:lnTo>
                  <a:lnTo>
                    <a:pt x="2371" y="2311"/>
                  </a:lnTo>
                  <a:lnTo>
                    <a:pt x="2376" y="2313"/>
                  </a:lnTo>
                  <a:lnTo>
                    <a:pt x="2381" y="2317"/>
                  </a:lnTo>
                  <a:lnTo>
                    <a:pt x="2385" y="2321"/>
                  </a:lnTo>
                  <a:lnTo>
                    <a:pt x="2390" y="2324"/>
                  </a:lnTo>
                  <a:lnTo>
                    <a:pt x="2395" y="2333"/>
                  </a:lnTo>
                  <a:lnTo>
                    <a:pt x="2395" y="2430"/>
                  </a:lnTo>
                  <a:lnTo>
                    <a:pt x="2395" y="2430"/>
                  </a:lnTo>
                  <a:lnTo>
                    <a:pt x="2389" y="2439"/>
                  </a:lnTo>
                  <a:lnTo>
                    <a:pt x="2381" y="2446"/>
                  </a:lnTo>
                  <a:lnTo>
                    <a:pt x="2376" y="2450"/>
                  </a:lnTo>
                  <a:lnTo>
                    <a:pt x="2371" y="2452"/>
                  </a:lnTo>
                  <a:lnTo>
                    <a:pt x="2365" y="2454"/>
                  </a:lnTo>
                  <a:lnTo>
                    <a:pt x="2358" y="2455"/>
                  </a:lnTo>
                  <a:lnTo>
                    <a:pt x="2358" y="2455"/>
                  </a:lnTo>
                  <a:close/>
                  <a:moveTo>
                    <a:pt x="634" y="2327"/>
                  </a:moveTo>
                  <a:lnTo>
                    <a:pt x="634" y="2327"/>
                  </a:lnTo>
                  <a:lnTo>
                    <a:pt x="627" y="2322"/>
                  </a:lnTo>
                  <a:lnTo>
                    <a:pt x="618" y="2317"/>
                  </a:lnTo>
                  <a:lnTo>
                    <a:pt x="609" y="2315"/>
                  </a:lnTo>
                  <a:lnTo>
                    <a:pt x="599" y="2313"/>
                  </a:lnTo>
                  <a:lnTo>
                    <a:pt x="599" y="2313"/>
                  </a:lnTo>
                  <a:lnTo>
                    <a:pt x="591" y="2315"/>
                  </a:lnTo>
                  <a:lnTo>
                    <a:pt x="583" y="2317"/>
                  </a:lnTo>
                  <a:lnTo>
                    <a:pt x="577" y="2322"/>
                  </a:lnTo>
                  <a:lnTo>
                    <a:pt x="571" y="2328"/>
                  </a:lnTo>
                  <a:lnTo>
                    <a:pt x="567" y="2336"/>
                  </a:lnTo>
                  <a:lnTo>
                    <a:pt x="565" y="2345"/>
                  </a:lnTo>
                  <a:lnTo>
                    <a:pt x="563" y="2358"/>
                  </a:lnTo>
                  <a:lnTo>
                    <a:pt x="562" y="2371"/>
                  </a:lnTo>
                  <a:lnTo>
                    <a:pt x="562" y="2505"/>
                  </a:lnTo>
                  <a:lnTo>
                    <a:pt x="511" y="2505"/>
                  </a:lnTo>
                  <a:lnTo>
                    <a:pt x="511" y="2258"/>
                  </a:lnTo>
                  <a:lnTo>
                    <a:pt x="562" y="2258"/>
                  </a:lnTo>
                  <a:lnTo>
                    <a:pt x="562" y="2279"/>
                  </a:lnTo>
                  <a:lnTo>
                    <a:pt x="562" y="2279"/>
                  </a:lnTo>
                  <a:lnTo>
                    <a:pt x="567" y="2273"/>
                  </a:lnTo>
                  <a:lnTo>
                    <a:pt x="572" y="2267"/>
                  </a:lnTo>
                  <a:lnTo>
                    <a:pt x="578" y="2263"/>
                  </a:lnTo>
                  <a:lnTo>
                    <a:pt x="584" y="2259"/>
                  </a:lnTo>
                  <a:lnTo>
                    <a:pt x="589" y="2256"/>
                  </a:lnTo>
                  <a:lnTo>
                    <a:pt x="595" y="2254"/>
                  </a:lnTo>
                  <a:lnTo>
                    <a:pt x="603" y="2253"/>
                  </a:lnTo>
                  <a:lnTo>
                    <a:pt x="609" y="2252"/>
                  </a:lnTo>
                  <a:lnTo>
                    <a:pt x="609" y="2252"/>
                  </a:lnTo>
                  <a:lnTo>
                    <a:pt x="619" y="2253"/>
                  </a:lnTo>
                  <a:lnTo>
                    <a:pt x="630" y="2257"/>
                  </a:lnTo>
                  <a:lnTo>
                    <a:pt x="640" y="2262"/>
                  </a:lnTo>
                  <a:lnTo>
                    <a:pt x="648" y="2268"/>
                  </a:lnTo>
                  <a:lnTo>
                    <a:pt x="634" y="2327"/>
                  </a:lnTo>
                  <a:close/>
                  <a:moveTo>
                    <a:pt x="227" y="2258"/>
                  </a:moveTo>
                  <a:lnTo>
                    <a:pt x="278" y="2258"/>
                  </a:lnTo>
                  <a:lnTo>
                    <a:pt x="219" y="2505"/>
                  </a:lnTo>
                  <a:lnTo>
                    <a:pt x="174" y="2505"/>
                  </a:lnTo>
                  <a:lnTo>
                    <a:pt x="151" y="2403"/>
                  </a:lnTo>
                  <a:lnTo>
                    <a:pt x="151" y="2403"/>
                  </a:lnTo>
                  <a:lnTo>
                    <a:pt x="139" y="2349"/>
                  </a:lnTo>
                  <a:lnTo>
                    <a:pt x="139" y="2349"/>
                  </a:lnTo>
                  <a:lnTo>
                    <a:pt x="134" y="2375"/>
                  </a:lnTo>
                  <a:lnTo>
                    <a:pt x="128" y="2404"/>
                  </a:lnTo>
                  <a:lnTo>
                    <a:pt x="104" y="2505"/>
                  </a:lnTo>
                  <a:lnTo>
                    <a:pt x="59" y="2505"/>
                  </a:lnTo>
                  <a:lnTo>
                    <a:pt x="59" y="2504"/>
                  </a:lnTo>
                  <a:lnTo>
                    <a:pt x="0" y="2258"/>
                  </a:lnTo>
                  <a:lnTo>
                    <a:pt x="54" y="2258"/>
                  </a:lnTo>
                  <a:lnTo>
                    <a:pt x="73" y="2350"/>
                  </a:lnTo>
                  <a:lnTo>
                    <a:pt x="73" y="2350"/>
                  </a:lnTo>
                  <a:lnTo>
                    <a:pt x="78" y="2380"/>
                  </a:lnTo>
                  <a:lnTo>
                    <a:pt x="83" y="2411"/>
                  </a:lnTo>
                  <a:lnTo>
                    <a:pt x="83" y="2411"/>
                  </a:lnTo>
                  <a:lnTo>
                    <a:pt x="90" y="2380"/>
                  </a:lnTo>
                  <a:lnTo>
                    <a:pt x="96" y="2349"/>
                  </a:lnTo>
                  <a:lnTo>
                    <a:pt x="118" y="2258"/>
                  </a:lnTo>
                  <a:lnTo>
                    <a:pt x="162" y="2258"/>
                  </a:lnTo>
                  <a:lnTo>
                    <a:pt x="184" y="2349"/>
                  </a:lnTo>
                  <a:lnTo>
                    <a:pt x="184" y="2349"/>
                  </a:lnTo>
                  <a:lnTo>
                    <a:pt x="190" y="2379"/>
                  </a:lnTo>
                  <a:lnTo>
                    <a:pt x="197" y="2412"/>
                  </a:lnTo>
                  <a:lnTo>
                    <a:pt x="197" y="2412"/>
                  </a:lnTo>
                  <a:lnTo>
                    <a:pt x="201" y="2383"/>
                  </a:lnTo>
                  <a:lnTo>
                    <a:pt x="207" y="2349"/>
                  </a:lnTo>
                  <a:lnTo>
                    <a:pt x="227" y="2258"/>
                  </a:lnTo>
                  <a:close/>
                  <a:moveTo>
                    <a:pt x="383" y="2252"/>
                  </a:moveTo>
                  <a:lnTo>
                    <a:pt x="383" y="2252"/>
                  </a:lnTo>
                  <a:lnTo>
                    <a:pt x="374" y="2253"/>
                  </a:lnTo>
                  <a:lnTo>
                    <a:pt x="363" y="2254"/>
                  </a:lnTo>
                  <a:lnTo>
                    <a:pt x="354" y="2258"/>
                  </a:lnTo>
                  <a:lnTo>
                    <a:pt x="346" y="2262"/>
                  </a:lnTo>
                  <a:lnTo>
                    <a:pt x="337" y="2267"/>
                  </a:lnTo>
                  <a:lnTo>
                    <a:pt x="329" y="2273"/>
                  </a:lnTo>
                  <a:lnTo>
                    <a:pt x="322" y="2280"/>
                  </a:lnTo>
                  <a:lnTo>
                    <a:pt x="315" y="2289"/>
                  </a:lnTo>
                  <a:lnTo>
                    <a:pt x="309" y="2297"/>
                  </a:lnTo>
                  <a:lnTo>
                    <a:pt x="304" y="2307"/>
                  </a:lnTo>
                  <a:lnTo>
                    <a:pt x="299" y="2318"/>
                  </a:lnTo>
                  <a:lnTo>
                    <a:pt x="296" y="2329"/>
                  </a:lnTo>
                  <a:lnTo>
                    <a:pt x="292" y="2342"/>
                  </a:lnTo>
                  <a:lnTo>
                    <a:pt x="290" y="2354"/>
                  </a:lnTo>
                  <a:lnTo>
                    <a:pt x="288" y="2367"/>
                  </a:lnTo>
                  <a:lnTo>
                    <a:pt x="288" y="2382"/>
                  </a:lnTo>
                  <a:lnTo>
                    <a:pt x="288" y="2382"/>
                  </a:lnTo>
                  <a:lnTo>
                    <a:pt x="288" y="2396"/>
                  </a:lnTo>
                  <a:lnTo>
                    <a:pt x="290" y="2409"/>
                  </a:lnTo>
                  <a:lnTo>
                    <a:pt x="292" y="2422"/>
                  </a:lnTo>
                  <a:lnTo>
                    <a:pt x="296" y="2434"/>
                  </a:lnTo>
                  <a:lnTo>
                    <a:pt x="299" y="2445"/>
                  </a:lnTo>
                  <a:lnTo>
                    <a:pt x="304" y="2456"/>
                  </a:lnTo>
                  <a:lnTo>
                    <a:pt x="309" y="2466"/>
                  </a:lnTo>
                  <a:lnTo>
                    <a:pt x="315" y="2474"/>
                  </a:lnTo>
                  <a:lnTo>
                    <a:pt x="322" y="2483"/>
                  </a:lnTo>
                  <a:lnTo>
                    <a:pt x="329" y="2490"/>
                  </a:lnTo>
                  <a:lnTo>
                    <a:pt x="337" y="2497"/>
                  </a:lnTo>
                  <a:lnTo>
                    <a:pt x="346" y="2502"/>
                  </a:lnTo>
                  <a:lnTo>
                    <a:pt x="354" y="2505"/>
                  </a:lnTo>
                  <a:lnTo>
                    <a:pt x="363" y="2509"/>
                  </a:lnTo>
                  <a:lnTo>
                    <a:pt x="374" y="2510"/>
                  </a:lnTo>
                  <a:lnTo>
                    <a:pt x="383" y="2511"/>
                  </a:lnTo>
                  <a:lnTo>
                    <a:pt x="383" y="2511"/>
                  </a:lnTo>
                  <a:lnTo>
                    <a:pt x="393" y="2510"/>
                  </a:lnTo>
                  <a:lnTo>
                    <a:pt x="404" y="2509"/>
                  </a:lnTo>
                  <a:lnTo>
                    <a:pt x="413" y="2505"/>
                  </a:lnTo>
                  <a:lnTo>
                    <a:pt x="422" y="2502"/>
                  </a:lnTo>
                  <a:lnTo>
                    <a:pt x="430" y="2497"/>
                  </a:lnTo>
                  <a:lnTo>
                    <a:pt x="438" y="2490"/>
                  </a:lnTo>
                  <a:lnTo>
                    <a:pt x="445" y="2483"/>
                  </a:lnTo>
                  <a:lnTo>
                    <a:pt x="452" y="2474"/>
                  </a:lnTo>
                  <a:lnTo>
                    <a:pt x="458" y="2466"/>
                  </a:lnTo>
                  <a:lnTo>
                    <a:pt x="463" y="2456"/>
                  </a:lnTo>
                  <a:lnTo>
                    <a:pt x="467" y="2445"/>
                  </a:lnTo>
                  <a:lnTo>
                    <a:pt x="471" y="2434"/>
                  </a:lnTo>
                  <a:lnTo>
                    <a:pt x="475" y="2422"/>
                  </a:lnTo>
                  <a:lnTo>
                    <a:pt x="477" y="2409"/>
                  </a:lnTo>
                  <a:lnTo>
                    <a:pt x="479" y="2396"/>
                  </a:lnTo>
                  <a:lnTo>
                    <a:pt x="479" y="2382"/>
                  </a:lnTo>
                  <a:lnTo>
                    <a:pt x="479" y="2382"/>
                  </a:lnTo>
                  <a:lnTo>
                    <a:pt x="479" y="2367"/>
                  </a:lnTo>
                  <a:lnTo>
                    <a:pt x="477" y="2354"/>
                  </a:lnTo>
                  <a:lnTo>
                    <a:pt x="475" y="2342"/>
                  </a:lnTo>
                  <a:lnTo>
                    <a:pt x="471" y="2329"/>
                  </a:lnTo>
                  <a:lnTo>
                    <a:pt x="467" y="2318"/>
                  </a:lnTo>
                  <a:lnTo>
                    <a:pt x="463" y="2307"/>
                  </a:lnTo>
                  <a:lnTo>
                    <a:pt x="458" y="2297"/>
                  </a:lnTo>
                  <a:lnTo>
                    <a:pt x="452" y="2289"/>
                  </a:lnTo>
                  <a:lnTo>
                    <a:pt x="445" y="2280"/>
                  </a:lnTo>
                  <a:lnTo>
                    <a:pt x="438" y="2273"/>
                  </a:lnTo>
                  <a:lnTo>
                    <a:pt x="430" y="2267"/>
                  </a:lnTo>
                  <a:lnTo>
                    <a:pt x="422" y="2262"/>
                  </a:lnTo>
                  <a:lnTo>
                    <a:pt x="413" y="2258"/>
                  </a:lnTo>
                  <a:lnTo>
                    <a:pt x="404" y="2254"/>
                  </a:lnTo>
                  <a:lnTo>
                    <a:pt x="393" y="2253"/>
                  </a:lnTo>
                  <a:lnTo>
                    <a:pt x="383" y="2252"/>
                  </a:lnTo>
                  <a:lnTo>
                    <a:pt x="383" y="2252"/>
                  </a:lnTo>
                  <a:close/>
                  <a:moveTo>
                    <a:pt x="383" y="2454"/>
                  </a:moveTo>
                  <a:lnTo>
                    <a:pt x="383" y="2454"/>
                  </a:lnTo>
                  <a:lnTo>
                    <a:pt x="374" y="2452"/>
                  </a:lnTo>
                  <a:lnTo>
                    <a:pt x="365" y="2449"/>
                  </a:lnTo>
                  <a:lnTo>
                    <a:pt x="359" y="2442"/>
                  </a:lnTo>
                  <a:lnTo>
                    <a:pt x="353" y="2434"/>
                  </a:lnTo>
                  <a:lnTo>
                    <a:pt x="348" y="2424"/>
                  </a:lnTo>
                  <a:lnTo>
                    <a:pt x="343" y="2412"/>
                  </a:lnTo>
                  <a:lnTo>
                    <a:pt x="341" y="2397"/>
                  </a:lnTo>
                  <a:lnTo>
                    <a:pt x="341" y="2382"/>
                  </a:lnTo>
                  <a:lnTo>
                    <a:pt x="341" y="2382"/>
                  </a:lnTo>
                  <a:lnTo>
                    <a:pt x="341" y="2366"/>
                  </a:lnTo>
                  <a:lnTo>
                    <a:pt x="343" y="2352"/>
                  </a:lnTo>
                  <a:lnTo>
                    <a:pt x="348" y="2340"/>
                  </a:lnTo>
                  <a:lnTo>
                    <a:pt x="353" y="2329"/>
                  </a:lnTo>
                  <a:lnTo>
                    <a:pt x="359" y="2321"/>
                  </a:lnTo>
                  <a:lnTo>
                    <a:pt x="365" y="2315"/>
                  </a:lnTo>
                  <a:lnTo>
                    <a:pt x="374" y="2311"/>
                  </a:lnTo>
                  <a:lnTo>
                    <a:pt x="383" y="2310"/>
                  </a:lnTo>
                  <a:lnTo>
                    <a:pt x="383" y="2310"/>
                  </a:lnTo>
                  <a:lnTo>
                    <a:pt x="392" y="2311"/>
                  </a:lnTo>
                  <a:lnTo>
                    <a:pt x="401" y="2315"/>
                  </a:lnTo>
                  <a:lnTo>
                    <a:pt x="408" y="2321"/>
                  </a:lnTo>
                  <a:lnTo>
                    <a:pt x="414" y="2329"/>
                  </a:lnTo>
                  <a:lnTo>
                    <a:pt x="419" y="2340"/>
                  </a:lnTo>
                  <a:lnTo>
                    <a:pt x="423" y="2352"/>
                  </a:lnTo>
                  <a:lnTo>
                    <a:pt x="425" y="2366"/>
                  </a:lnTo>
                  <a:lnTo>
                    <a:pt x="426" y="2382"/>
                  </a:lnTo>
                  <a:lnTo>
                    <a:pt x="426" y="2382"/>
                  </a:lnTo>
                  <a:lnTo>
                    <a:pt x="425" y="2397"/>
                  </a:lnTo>
                  <a:lnTo>
                    <a:pt x="423" y="2412"/>
                  </a:lnTo>
                  <a:lnTo>
                    <a:pt x="419" y="2424"/>
                  </a:lnTo>
                  <a:lnTo>
                    <a:pt x="414" y="2434"/>
                  </a:lnTo>
                  <a:lnTo>
                    <a:pt x="408" y="2442"/>
                  </a:lnTo>
                  <a:lnTo>
                    <a:pt x="401" y="2449"/>
                  </a:lnTo>
                  <a:lnTo>
                    <a:pt x="392" y="2452"/>
                  </a:lnTo>
                  <a:lnTo>
                    <a:pt x="383" y="2454"/>
                  </a:lnTo>
                  <a:lnTo>
                    <a:pt x="383" y="2454"/>
                  </a:lnTo>
                  <a:close/>
                  <a:moveTo>
                    <a:pt x="2140" y="2327"/>
                  </a:moveTo>
                  <a:lnTo>
                    <a:pt x="2140" y="2327"/>
                  </a:lnTo>
                  <a:lnTo>
                    <a:pt x="2131" y="2322"/>
                  </a:lnTo>
                  <a:lnTo>
                    <a:pt x="2123" y="2317"/>
                  </a:lnTo>
                  <a:lnTo>
                    <a:pt x="2114" y="2315"/>
                  </a:lnTo>
                  <a:lnTo>
                    <a:pt x="2105" y="2313"/>
                  </a:lnTo>
                  <a:lnTo>
                    <a:pt x="2105" y="2313"/>
                  </a:lnTo>
                  <a:lnTo>
                    <a:pt x="2096" y="2315"/>
                  </a:lnTo>
                  <a:lnTo>
                    <a:pt x="2089" y="2317"/>
                  </a:lnTo>
                  <a:lnTo>
                    <a:pt x="2083" y="2322"/>
                  </a:lnTo>
                  <a:lnTo>
                    <a:pt x="2077" y="2328"/>
                  </a:lnTo>
                  <a:lnTo>
                    <a:pt x="2073" y="2336"/>
                  </a:lnTo>
                  <a:lnTo>
                    <a:pt x="2070" y="2345"/>
                  </a:lnTo>
                  <a:lnTo>
                    <a:pt x="2068" y="2358"/>
                  </a:lnTo>
                  <a:lnTo>
                    <a:pt x="2068" y="2371"/>
                  </a:lnTo>
                  <a:lnTo>
                    <a:pt x="2068" y="2505"/>
                  </a:lnTo>
                  <a:lnTo>
                    <a:pt x="2016" y="2505"/>
                  </a:lnTo>
                  <a:lnTo>
                    <a:pt x="2016" y="2258"/>
                  </a:lnTo>
                  <a:lnTo>
                    <a:pt x="2068" y="2258"/>
                  </a:lnTo>
                  <a:lnTo>
                    <a:pt x="2068" y="2279"/>
                  </a:lnTo>
                  <a:lnTo>
                    <a:pt x="2068" y="2279"/>
                  </a:lnTo>
                  <a:lnTo>
                    <a:pt x="2072" y="2273"/>
                  </a:lnTo>
                  <a:lnTo>
                    <a:pt x="2077" y="2267"/>
                  </a:lnTo>
                  <a:lnTo>
                    <a:pt x="2083" y="2263"/>
                  </a:lnTo>
                  <a:lnTo>
                    <a:pt x="2089" y="2259"/>
                  </a:lnTo>
                  <a:lnTo>
                    <a:pt x="2095" y="2256"/>
                  </a:lnTo>
                  <a:lnTo>
                    <a:pt x="2101" y="2254"/>
                  </a:lnTo>
                  <a:lnTo>
                    <a:pt x="2108" y="2253"/>
                  </a:lnTo>
                  <a:lnTo>
                    <a:pt x="2114" y="2252"/>
                  </a:lnTo>
                  <a:lnTo>
                    <a:pt x="2114" y="2252"/>
                  </a:lnTo>
                  <a:lnTo>
                    <a:pt x="2124" y="2253"/>
                  </a:lnTo>
                  <a:lnTo>
                    <a:pt x="2135" y="2257"/>
                  </a:lnTo>
                  <a:lnTo>
                    <a:pt x="2145" y="2262"/>
                  </a:lnTo>
                  <a:lnTo>
                    <a:pt x="2153" y="2268"/>
                  </a:lnTo>
                  <a:lnTo>
                    <a:pt x="2140" y="2327"/>
                  </a:lnTo>
                  <a:close/>
                  <a:moveTo>
                    <a:pt x="1732" y="2258"/>
                  </a:moveTo>
                  <a:lnTo>
                    <a:pt x="1783" y="2258"/>
                  </a:lnTo>
                  <a:lnTo>
                    <a:pt x="1723" y="2505"/>
                  </a:lnTo>
                  <a:lnTo>
                    <a:pt x="1679" y="2505"/>
                  </a:lnTo>
                  <a:lnTo>
                    <a:pt x="1656" y="2403"/>
                  </a:lnTo>
                  <a:lnTo>
                    <a:pt x="1656" y="2403"/>
                  </a:lnTo>
                  <a:lnTo>
                    <a:pt x="1644" y="2349"/>
                  </a:lnTo>
                  <a:lnTo>
                    <a:pt x="1644" y="2349"/>
                  </a:lnTo>
                  <a:lnTo>
                    <a:pt x="1639" y="2375"/>
                  </a:lnTo>
                  <a:lnTo>
                    <a:pt x="1633" y="2404"/>
                  </a:lnTo>
                  <a:lnTo>
                    <a:pt x="1610" y="2505"/>
                  </a:lnTo>
                  <a:lnTo>
                    <a:pt x="1565" y="2505"/>
                  </a:lnTo>
                  <a:lnTo>
                    <a:pt x="1564" y="2504"/>
                  </a:lnTo>
                  <a:lnTo>
                    <a:pt x="1506" y="2258"/>
                  </a:lnTo>
                  <a:lnTo>
                    <a:pt x="1559" y="2258"/>
                  </a:lnTo>
                  <a:lnTo>
                    <a:pt x="1579" y="2350"/>
                  </a:lnTo>
                  <a:lnTo>
                    <a:pt x="1579" y="2350"/>
                  </a:lnTo>
                  <a:lnTo>
                    <a:pt x="1584" y="2380"/>
                  </a:lnTo>
                  <a:lnTo>
                    <a:pt x="1589" y="2411"/>
                  </a:lnTo>
                  <a:lnTo>
                    <a:pt x="1589" y="2411"/>
                  </a:lnTo>
                  <a:lnTo>
                    <a:pt x="1594" y="2380"/>
                  </a:lnTo>
                  <a:lnTo>
                    <a:pt x="1602" y="2349"/>
                  </a:lnTo>
                  <a:lnTo>
                    <a:pt x="1624" y="2258"/>
                  </a:lnTo>
                  <a:lnTo>
                    <a:pt x="1667" y="2258"/>
                  </a:lnTo>
                  <a:lnTo>
                    <a:pt x="1689" y="2349"/>
                  </a:lnTo>
                  <a:lnTo>
                    <a:pt x="1689" y="2349"/>
                  </a:lnTo>
                  <a:lnTo>
                    <a:pt x="1695" y="2379"/>
                  </a:lnTo>
                  <a:lnTo>
                    <a:pt x="1702" y="2412"/>
                  </a:lnTo>
                  <a:lnTo>
                    <a:pt x="1702" y="2412"/>
                  </a:lnTo>
                  <a:lnTo>
                    <a:pt x="1707" y="2383"/>
                  </a:lnTo>
                  <a:lnTo>
                    <a:pt x="1713" y="2349"/>
                  </a:lnTo>
                  <a:lnTo>
                    <a:pt x="1732" y="2258"/>
                  </a:lnTo>
                  <a:close/>
                  <a:moveTo>
                    <a:pt x="1888" y="2252"/>
                  </a:moveTo>
                  <a:lnTo>
                    <a:pt x="1888" y="2252"/>
                  </a:lnTo>
                  <a:lnTo>
                    <a:pt x="1879" y="2253"/>
                  </a:lnTo>
                  <a:lnTo>
                    <a:pt x="1868" y="2254"/>
                  </a:lnTo>
                  <a:lnTo>
                    <a:pt x="1859" y="2258"/>
                  </a:lnTo>
                  <a:lnTo>
                    <a:pt x="1850" y="2262"/>
                  </a:lnTo>
                  <a:lnTo>
                    <a:pt x="1842" y="2267"/>
                  </a:lnTo>
                  <a:lnTo>
                    <a:pt x="1834" y="2274"/>
                  </a:lnTo>
                  <a:lnTo>
                    <a:pt x="1827" y="2280"/>
                  </a:lnTo>
                  <a:lnTo>
                    <a:pt x="1820" y="2289"/>
                  </a:lnTo>
                  <a:lnTo>
                    <a:pt x="1814" y="2297"/>
                  </a:lnTo>
                  <a:lnTo>
                    <a:pt x="1809" y="2307"/>
                  </a:lnTo>
                  <a:lnTo>
                    <a:pt x="1804" y="2318"/>
                  </a:lnTo>
                  <a:lnTo>
                    <a:pt x="1800" y="2329"/>
                  </a:lnTo>
                  <a:lnTo>
                    <a:pt x="1797" y="2342"/>
                  </a:lnTo>
                  <a:lnTo>
                    <a:pt x="1794" y="2355"/>
                  </a:lnTo>
                  <a:lnTo>
                    <a:pt x="1793" y="2367"/>
                  </a:lnTo>
                  <a:lnTo>
                    <a:pt x="1793" y="2382"/>
                  </a:lnTo>
                  <a:lnTo>
                    <a:pt x="1793" y="2382"/>
                  </a:lnTo>
                  <a:lnTo>
                    <a:pt x="1793" y="2396"/>
                  </a:lnTo>
                  <a:lnTo>
                    <a:pt x="1794" y="2409"/>
                  </a:lnTo>
                  <a:lnTo>
                    <a:pt x="1797" y="2422"/>
                  </a:lnTo>
                  <a:lnTo>
                    <a:pt x="1800" y="2434"/>
                  </a:lnTo>
                  <a:lnTo>
                    <a:pt x="1804" y="2445"/>
                  </a:lnTo>
                  <a:lnTo>
                    <a:pt x="1809" y="2456"/>
                  </a:lnTo>
                  <a:lnTo>
                    <a:pt x="1814" y="2466"/>
                  </a:lnTo>
                  <a:lnTo>
                    <a:pt x="1820" y="2474"/>
                  </a:lnTo>
                  <a:lnTo>
                    <a:pt x="1827" y="2483"/>
                  </a:lnTo>
                  <a:lnTo>
                    <a:pt x="1834" y="2490"/>
                  </a:lnTo>
                  <a:lnTo>
                    <a:pt x="1842" y="2497"/>
                  </a:lnTo>
                  <a:lnTo>
                    <a:pt x="1850" y="2502"/>
                  </a:lnTo>
                  <a:lnTo>
                    <a:pt x="1859" y="2505"/>
                  </a:lnTo>
                  <a:lnTo>
                    <a:pt x="1868" y="2509"/>
                  </a:lnTo>
                  <a:lnTo>
                    <a:pt x="1879" y="2510"/>
                  </a:lnTo>
                  <a:lnTo>
                    <a:pt x="1888" y="2511"/>
                  </a:lnTo>
                  <a:lnTo>
                    <a:pt x="1888" y="2511"/>
                  </a:lnTo>
                  <a:lnTo>
                    <a:pt x="1898" y="2510"/>
                  </a:lnTo>
                  <a:lnTo>
                    <a:pt x="1909" y="2509"/>
                  </a:lnTo>
                  <a:lnTo>
                    <a:pt x="1918" y="2505"/>
                  </a:lnTo>
                  <a:lnTo>
                    <a:pt x="1926" y="2502"/>
                  </a:lnTo>
                  <a:lnTo>
                    <a:pt x="1935" y="2497"/>
                  </a:lnTo>
                  <a:lnTo>
                    <a:pt x="1943" y="2490"/>
                  </a:lnTo>
                  <a:lnTo>
                    <a:pt x="1950" y="2483"/>
                  </a:lnTo>
                  <a:lnTo>
                    <a:pt x="1957" y="2474"/>
                  </a:lnTo>
                  <a:lnTo>
                    <a:pt x="1963" y="2466"/>
                  </a:lnTo>
                  <a:lnTo>
                    <a:pt x="1968" y="2456"/>
                  </a:lnTo>
                  <a:lnTo>
                    <a:pt x="1972" y="2445"/>
                  </a:lnTo>
                  <a:lnTo>
                    <a:pt x="1976" y="2434"/>
                  </a:lnTo>
                  <a:lnTo>
                    <a:pt x="1979" y="2422"/>
                  </a:lnTo>
                  <a:lnTo>
                    <a:pt x="1982" y="2409"/>
                  </a:lnTo>
                  <a:lnTo>
                    <a:pt x="1984" y="2396"/>
                  </a:lnTo>
                  <a:lnTo>
                    <a:pt x="1984" y="2382"/>
                  </a:lnTo>
                  <a:lnTo>
                    <a:pt x="1984" y="2382"/>
                  </a:lnTo>
                  <a:lnTo>
                    <a:pt x="1984" y="2367"/>
                  </a:lnTo>
                  <a:lnTo>
                    <a:pt x="1982" y="2355"/>
                  </a:lnTo>
                  <a:lnTo>
                    <a:pt x="1979" y="2342"/>
                  </a:lnTo>
                  <a:lnTo>
                    <a:pt x="1976" y="2329"/>
                  </a:lnTo>
                  <a:lnTo>
                    <a:pt x="1972" y="2318"/>
                  </a:lnTo>
                  <a:lnTo>
                    <a:pt x="1968" y="2307"/>
                  </a:lnTo>
                  <a:lnTo>
                    <a:pt x="1963" y="2297"/>
                  </a:lnTo>
                  <a:lnTo>
                    <a:pt x="1957" y="2289"/>
                  </a:lnTo>
                  <a:lnTo>
                    <a:pt x="1950" y="2280"/>
                  </a:lnTo>
                  <a:lnTo>
                    <a:pt x="1943" y="2274"/>
                  </a:lnTo>
                  <a:lnTo>
                    <a:pt x="1935" y="2267"/>
                  </a:lnTo>
                  <a:lnTo>
                    <a:pt x="1926" y="2262"/>
                  </a:lnTo>
                  <a:lnTo>
                    <a:pt x="1918" y="2258"/>
                  </a:lnTo>
                  <a:lnTo>
                    <a:pt x="1909" y="2254"/>
                  </a:lnTo>
                  <a:lnTo>
                    <a:pt x="1898" y="2253"/>
                  </a:lnTo>
                  <a:lnTo>
                    <a:pt x="1888" y="2252"/>
                  </a:lnTo>
                  <a:lnTo>
                    <a:pt x="1888" y="2252"/>
                  </a:lnTo>
                  <a:close/>
                  <a:moveTo>
                    <a:pt x="1888" y="2454"/>
                  </a:moveTo>
                  <a:lnTo>
                    <a:pt x="1888" y="2454"/>
                  </a:lnTo>
                  <a:lnTo>
                    <a:pt x="1879" y="2452"/>
                  </a:lnTo>
                  <a:lnTo>
                    <a:pt x="1871" y="2449"/>
                  </a:lnTo>
                  <a:lnTo>
                    <a:pt x="1864" y="2442"/>
                  </a:lnTo>
                  <a:lnTo>
                    <a:pt x="1858" y="2434"/>
                  </a:lnTo>
                  <a:lnTo>
                    <a:pt x="1853" y="2424"/>
                  </a:lnTo>
                  <a:lnTo>
                    <a:pt x="1848" y="2412"/>
                  </a:lnTo>
                  <a:lnTo>
                    <a:pt x="1846" y="2397"/>
                  </a:lnTo>
                  <a:lnTo>
                    <a:pt x="1846" y="2382"/>
                  </a:lnTo>
                  <a:lnTo>
                    <a:pt x="1846" y="2382"/>
                  </a:lnTo>
                  <a:lnTo>
                    <a:pt x="1846" y="2366"/>
                  </a:lnTo>
                  <a:lnTo>
                    <a:pt x="1848" y="2353"/>
                  </a:lnTo>
                  <a:lnTo>
                    <a:pt x="1853" y="2340"/>
                  </a:lnTo>
                  <a:lnTo>
                    <a:pt x="1858" y="2329"/>
                  </a:lnTo>
                  <a:lnTo>
                    <a:pt x="1864" y="2321"/>
                  </a:lnTo>
                  <a:lnTo>
                    <a:pt x="1871" y="2315"/>
                  </a:lnTo>
                  <a:lnTo>
                    <a:pt x="1879" y="2311"/>
                  </a:lnTo>
                  <a:lnTo>
                    <a:pt x="1888" y="2310"/>
                  </a:lnTo>
                  <a:lnTo>
                    <a:pt x="1888" y="2310"/>
                  </a:lnTo>
                  <a:lnTo>
                    <a:pt x="1897" y="2311"/>
                  </a:lnTo>
                  <a:lnTo>
                    <a:pt x="1906" y="2315"/>
                  </a:lnTo>
                  <a:lnTo>
                    <a:pt x="1913" y="2321"/>
                  </a:lnTo>
                  <a:lnTo>
                    <a:pt x="1919" y="2329"/>
                  </a:lnTo>
                  <a:lnTo>
                    <a:pt x="1924" y="2340"/>
                  </a:lnTo>
                  <a:lnTo>
                    <a:pt x="1927" y="2353"/>
                  </a:lnTo>
                  <a:lnTo>
                    <a:pt x="1930" y="2366"/>
                  </a:lnTo>
                  <a:lnTo>
                    <a:pt x="1931" y="2382"/>
                  </a:lnTo>
                  <a:lnTo>
                    <a:pt x="1931" y="2382"/>
                  </a:lnTo>
                  <a:lnTo>
                    <a:pt x="1930" y="2397"/>
                  </a:lnTo>
                  <a:lnTo>
                    <a:pt x="1927" y="2412"/>
                  </a:lnTo>
                  <a:lnTo>
                    <a:pt x="1924" y="2424"/>
                  </a:lnTo>
                  <a:lnTo>
                    <a:pt x="1919" y="2434"/>
                  </a:lnTo>
                  <a:lnTo>
                    <a:pt x="1913" y="2442"/>
                  </a:lnTo>
                  <a:lnTo>
                    <a:pt x="1906" y="2449"/>
                  </a:lnTo>
                  <a:lnTo>
                    <a:pt x="1897" y="2452"/>
                  </a:lnTo>
                  <a:lnTo>
                    <a:pt x="1888" y="2454"/>
                  </a:lnTo>
                  <a:lnTo>
                    <a:pt x="1888" y="2454"/>
                  </a:lnTo>
                  <a:close/>
                  <a:moveTo>
                    <a:pt x="789" y="2339"/>
                  </a:moveTo>
                  <a:lnTo>
                    <a:pt x="852" y="2505"/>
                  </a:lnTo>
                  <a:lnTo>
                    <a:pt x="795" y="2505"/>
                  </a:lnTo>
                  <a:lnTo>
                    <a:pt x="751" y="2391"/>
                  </a:lnTo>
                  <a:lnTo>
                    <a:pt x="723" y="2431"/>
                  </a:lnTo>
                  <a:lnTo>
                    <a:pt x="723" y="2505"/>
                  </a:lnTo>
                  <a:lnTo>
                    <a:pt x="672" y="2505"/>
                  </a:lnTo>
                  <a:lnTo>
                    <a:pt x="672" y="2186"/>
                  </a:lnTo>
                  <a:lnTo>
                    <a:pt x="723" y="2155"/>
                  </a:lnTo>
                  <a:lnTo>
                    <a:pt x="723" y="2353"/>
                  </a:lnTo>
                  <a:lnTo>
                    <a:pt x="723" y="2353"/>
                  </a:lnTo>
                  <a:lnTo>
                    <a:pt x="743" y="2321"/>
                  </a:lnTo>
                  <a:lnTo>
                    <a:pt x="785" y="2258"/>
                  </a:lnTo>
                  <a:lnTo>
                    <a:pt x="845" y="2258"/>
                  </a:lnTo>
                  <a:lnTo>
                    <a:pt x="789" y="2339"/>
                  </a:lnTo>
                  <a:close/>
                  <a:moveTo>
                    <a:pt x="1034" y="2505"/>
                  </a:moveTo>
                  <a:lnTo>
                    <a:pt x="982" y="2505"/>
                  </a:lnTo>
                  <a:lnTo>
                    <a:pt x="982" y="2258"/>
                  </a:lnTo>
                  <a:lnTo>
                    <a:pt x="1034" y="2258"/>
                  </a:lnTo>
                  <a:lnTo>
                    <a:pt x="1034" y="2279"/>
                  </a:lnTo>
                  <a:lnTo>
                    <a:pt x="1034" y="2279"/>
                  </a:lnTo>
                  <a:lnTo>
                    <a:pt x="1040" y="2273"/>
                  </a:lnTo>
                  <a:lnTo>
                    <a:pt x="1045" y="2268"/>
                  </a:lnTo>
                  <a:lnTo>
                    <a:pt x="1051" y="2263"/>
                  </a:lnTo>
                  <a:lnTo>
                    <a:pt x="1057" y="2259"/>
                  </a:lnTo>
                  <a:lnTo>
                    <a:pt x="1065" y="2257"/>
                  </a:lnTo>
                  <a:lnTo>
                    <a:pt x="1072" y="2254"/>
                  </a:lnTo>
                  <a:lnTo>
                    <a:pt x="1079" y="2253"/>
                  </a:lnTo>
                  <a:lnTo>
                    <a:pt x="1088" y="2252"/>
                  </a:lnTo>
                  <a:lnTo>
                    <a:pt x="1088" y="2252"/>
                  </a:lnTo>
                  <a:lnTo>
                    <a:pt x="1097" y="2253"/>
                  </a:lnTo>
                  <a:lnTo>
                    <a:pt x="1105" y="2254"/>
                  </a:lnTo>
                  <a:lnTo>
                    <a:pt x="1113" y="2257"/>
                  </a:lnTo>
                  <a:lnTo>
                    <a:pt x="1121" y="2259"/>
                  </a:lnTo>
                  <a:lnTo>
                    <a:pt x="1127" y="2264"/>
                  </a:lnTo>
                  <a:lnTo>
                    <a:pt x="1133" y="2269"/>
                  </a:lnTo>
                  <a:lnTo>
                    <a:pt x="1140" y="2274"/>
                  </a:lnTo>
                  <a:lnTo>
                    <a:pt x="1145" y="2281"/>
                  </a:lnTo>
                  <a:lnTo>
                    <a:pt x="1149" y="2289"/>
                  </a:lnTo>
                  <a:lnTo>
                    <a:pt x="1153" y="2297"/>
                  </a:lnTo>
                  <a:lnTo>
                    <a:pt x="1156" y="2306"/>
                  </a:lnTo>
                  <a:lnTo>
                    <a:pt x="1159" y="2317"/>
                  </a:lnTo>
                  <a:lnTo>
                    <a:pt x="1161" y="2328"/>
                  </a:lnTo>
                  <a:lnTo>
                    <a:pt x="1163" y="2339"/>
                  </a:lnTo>
                  <a:lnTo>
                    <a:pt x="1164" y="2352"/>
                  </a:lnTo>
                  <a:lnTo>
                    <a:pt x="1165" y="2365"/>
                  </a:lnTo>
                  <a:lnTo>
                    <a:pt x="1165" y="2505"/>
                  </a:lnTo>
                  <a:lnTo>
                    <a:pt x="1113" y="2505"/>
                  </a:lnTo>
                  <a:lnTo>
                    <a:pt x="1113" y="2369"/>
                  </a:lnTo>
                  <a:lnTo>
                    <a:pt x="1113" y="2369"/>
                  </a:lnTo>
                  <a:lnTo>
                    <a:pt x="1112" y="2355"/>
                  </a:lnTo>
                  <a:lnTo>
                    <a:pt x="1110" y="2342"/>
                  </a:lnTo>
                  <a:lnTo>
                    <a:pt x="1107" y="2332"/>
                  </a:lnTo>
                  <a:lnTo>
                    <a:pt x="1103" y="2323"/>
                  </a:lnTo>
                  <a:lnTo>
                    <a:pt x="1098" y="2317"/>
                  </a:lnTo>
                  <a:lnTo>
                    <a:pt x="1092" y="2312"/>
                  </a:lnTo>
                  <a:lnTo>
                    <a:pt x="1083" y="2310"/>
                  </a:lnTo>
                  <a:lnTo>
                    <a:pt x="1074" y="2308"/>
                  </a:lnTo>
                  <a:lnTo>
                    <a:pt x="1074" y="2308"/>
                  </a:lnTo>
                  <a:lnTo>
                    <a:pt x="1066" y="2310"/>
                  </a:lnTo>
                  <a:lnTo>
                    <a:pt x="1057" y="2312"/>
                  </a:lnTo>
                  <a:lnTo>
                    <a:pt x="1050" y="2317"/>
                  </a:lnTo>
                  <a:lnTo>
                    <a:pt x="1045" y="2324"/>
                  </a:lnTo>
                  <a:lnTo>
                    <a:pt x="1041" y="2332"/>
                  </a:lnTo>
                  <a:lnTo>
                    <a:pt x="1038" y="2343"/>
                  </a:lnTo>
                  <a:lnTo>
                    <a:pt x="1036" y="2355"/>
                  </a:lnTo>
                  <a:lnTo>
                    <a:pt x="1034" y="2369"/>
                  </a:lnTo>
                  <a:lnTo>
                    <a:pt x="1034" y="2505"/>
                  </a:lnTo>
                  <a:close/>
                  <a:moveTo>
                    <a:pt x="1328" y="2275"/>
                  </a:moveTo>
                  <a:lnTo>
                    <a:pt x="1328" y="2275"/>
                  </a:lnTo>
                  <a:lnTo>
                    <a:pt x="1323" y="2270"/>
                  </a:lnTo>
                  <a:lnTo>
                    <a:pt x="1318" y="2265"/>
                  </a:lnTo>
                  <a:lnTo>
                    <a:pt x="1312" y="2262"/>
                  </a:lnTo>
                  <a:lnTo>
                    <a:pt x="1306" y="2258"/>
                  </a:lnTo>
                  <a:lnTo>
                    <a:pt x="1300" y="2256"/>
                  </a:lnTo>
                  <a:lnTo>
                    <a:pt x="1294" y="2254"/>
                  </a:lnTo>
                  <a:lnTo>
                    <a:pt x="1287" y="2253"/>
                  </a:lnTo>
                  <a:lnTo>
                    <a:pt x="1281" y="2252"/>
                  </a:lnTo>
                  <a:lnTo>
                    <a:pt x="1281" y="2252"/>
                  </a:lnTo>
                  <a:lnTo>
                    <a:pt x="1272" y="2253"/>
                  </a:lnTo>
                  <a:lnTo>
                    <a:pt x="1263" y="2254"/>
                  </a:lnTo>
                  <a:lnTo>
                    <a:pt x="1255" y="2257"/>
                  </a:lnTo>
                  <a:lnTo>
                    <a:pt x="1247" y="2262"/>
                  </a:lnTo>
                  <a:lnTo>
                    <a:pt x="1240" y="2265"/>
                  </a:lnTo>
                  <a:lnTo>
                    <a:pt x="1233" y="2272"/>
                  </a:lnTo>
                  <a:lnTo>
                    <a:pt x="1227" y="2279"/>
                  </a:lnTo>
                  <a:lnTo>
                    <a:pt x="1221" y="2286"/>
                  </a:lnTo>
                  <a:lnTo>
                    <a:pt x="1216" y="2295"/>
                  </a:lnTo>
                  <a:lnTo>
                    <a:pt x="1211" y="2305"/>
                  </a:lnTo>
                  <a:lnTo>
                    <a:pt x="1207" y="2315"/>
                  </a:lnTo>
                  <a:lnTo>
                    <a:pt x="1204" y="2327"/>
                  </a:lnTo>
                  <a:lnTo>
                    <a:pt x="1202" y="2338"/>
                  </a:lnTo>
                  <a:lnTo>
                    <a:pt x="1200" y="2352"/>
                  </a:lnTo>
                  <a:lnTo>
                    <a:pt x="1199" y="2365"/>
                  </a:lnTo>
                  <a:lnTo>
                    <a:pt x="1199" y="2379"/>
                  </a:lnTo>
                  <a:lnTo>
                    <a:pt x="1199" y="2379"/>
                  </a:lnTo>
                  <a:lnTo>
                    <a:pt x="1199" y="2395"/>
                  </a:lnTo>
                  <a:lnTo>
                    <a:pt x="1200" y="2408"/>
                  </a:lnTo>
                  <a:lnTo>
                    <a:pt x="1202" y="2422"/>
                  </a:lnTo>
                  <a:lnTo>
                    <a:pt x="1204" y="2435"/>
                  </a:lnTo>
                  <a:lnTo>
                    <a:pt x="1207" y="2446"/>
                  </a:lnTo>
                  <a:lnTo>
                    <a:pt x="1211" y="2457"/>
                  </a:lnTo>
                  <a:lnTo>
                    <a:pt x="1216" y="2467"/>
                  </a:lnTo>
                  <a:lnTo>
                    <a:pt x="1221" y="2476"/>
                  </a:lnTo>
                  <a:lnTo>
                    <a:pt x="1226" y="2484"/>
                  </a:lnTo>
                  <a:lnTo>
                    <a:pt x="1232" y="2490"/>
                  </a:lnTo>
                  <a:lnTo>
                    <a:pt x="1238" y="2497"/>
                  </a:lnTo>
                  <a:lnTo>
                    <a:pt x="1246" y="2502"/>
                  </a:lnTo>
                  <a:lnTo>
                    <a:pt x="1254" y="2505"/>
                  </a:lnTo>
                  <a:lnTo>
                    <a:pt x="1262" y="2509"/>
                  </a:lnTo>
                  <a:lnTo>
                    <a:pt x="1271" y="2510"/>
                  </a:lnTo>
                  <a:lnTo>
                    <a:pt x="1280" y="2511"/>
                  </a:lnTo>
                  <a:lnTo>
                    <a:pt x="1280" y="2511"/>
                  </a:lnTo>
                  <a:lnTo>
                    <a:pt x="1286" y="2510"/>
                  </a:lnTo>
                  <a:lnTo>
                    <a:pt x="1294" y="2509"/>
                  </a:lnTo>
                  <a:lnTo>
                    <a:pt x="1300" y="2508"/>
                  </a:lnTo>
                  <a:lnTo>
                    <a:pt x="1306" y="2505"/>
                  </a:lnTo>
                  <a:lnTo>
                    <a:pt x="1311" y="2502"/>
                  </a:lnTo>
                  <a:lnTo>
                    <a:pt x="1318" y="2498"/>
                  </a:lnTo>
                  <a:lnTo>
                    <a:pt x="1323" y="2493"/>
                  </a:lnTo>
                  <a:lnTo>
                    <a:pt x="1328" y="2487"/>
                  </a:lnTo>
                  <a:lnTo>
                    <a:pt x="1328" y="2493"/>
                  </a:lnTo>
                  <a:lnTo>
                    <a:pt x="1328" y="2493"/>
                  </a:lnTo>
                  <a:lnTo>
                    <a:pt x="1328" y="2503"/>
                  </a:lnTo>
                  <a:lnTo>
                    <a:pt x="1327" y="2514"/>
                  </a:lnTo>
                  <a:lnTo>
                    <a:pt x="1324" y="2525"/>
                  </a:lnTo>
                  <a:lnTo>
                    <a:pt x="1322" y="2530"/>
                  </a:lnTo>
                  <a:lnTo>
                    <a:pt x="1320" y="2535"/>
                  </a:lnTo>
                  <a:lnTo>
                    <a:pt x="1315" y="2540"/>
                  </a:lnTo>
                  <a:lnTo>
                    <a:pt x="1311" y="2545"/>
                  </a:lnTo>
                  <a:lnTo>
                    <a:pt x="1306" y="2548"/>
                  </a:lnTo>
                  <a:lnTo>
                    <a:pt x="1300" y="2552"/>
                  </a:lnTo>
                  <a:lnTo>
                    <a:pt x="1292" y="2554"/>
                  </a:lnTo>
                  <a:lnTo>
                    <a:pt x="1283" y="2557"/>
                  </a:lnTo>
                  <a:lnTo>
                    <a:pt x="1273" y="2558"/>
                  </a:lnTo>
                  <a:lnTo>
                    <a:pt x="1260" y="2558"/>
                  </a:lnTo>
                  <a:lnTo>
                    <a:pt x="1258" y="2558"/>
                  </a:lnTo>
                  <a:lnTo>
                    <a:pt x="1277" y="2606"/>
                  </a:lnTo>
                  <a:lnTo>
                    <a:pt x="1278" y="2606"/>
                  </a:lnTo>
                  <a:lnTo>
                    <a:pt x="1278" y="2606"/>
                  </a:lnTo>
                  <a:lnTo>
                    <a:pt x="1291" y="2606"/>
                  </a:lnTo>
                  <a:lnTo>
                    <a:pt x="1302" y="2605"/>
                  </a:lnTo>
                  <a:lnTo>
                    <a:pt x="1312" y="2601"/>
                  </a:lnTo>
                  <a:lnTo>
                    <a:pt x="1323" y="2599"/>
                  </a:lnTo>
                  <a:lnTo>
                    <a:pt x="1332" y="2594"/>
                  </a:lnTo>
                  <a:lnTo>
                    <a:pt x="1340" y="2589"/>
                  </a:lnTo>
                  <a:lnTo>
                    <a:pt x="1348" y="2583"/>
                  </a:lnTo>
                  <a:lnTo>
                    <a:pt x="1354" y="2575"/>
                  </a:lnTo>
                  <a:lnTo>
                    <a:pt x="1360" y="2567"/>
                  </a:lnTo>
                  <a:lnTo>
                    <a:pt x="1365" y="2558"/>
                  </a:lnTo>
                  <a:lnTo>
                    <a:pt x="1370" y="2547"/>
                  </a:lnTo>
                  <a:lnTo>
                    <a:pt x="1373" y="2536"/>
                  </a:lnTo>
                  <a:lnTo>
                    <a:pt x="1376" y="2525"/>
                  </a:lnTo>
                  <a:lnTo>
                    <a:pt x="1378" y="2511"/>
                  </a:lnTo>
                  <a:lnTo>
                    <a:pt x="1379" y="2498"/>
                  </a:lnTo>
                  <a:lnTo>
                    <a:pt x="1379" y="2483"/>
                  </a:lnTo>
                  <a:lnTo>
                    <a:pt x="1379" y="2258"/>
                  </a:lnTo>
                  <a:lnTo>
                    <a:pt x="1328" y="2258"/>
                  </a:lnTo>
                  <a:lnTo>
                    <a:pt x="1328" y="2275"/>
                  </a:lnTo>
                  <a:close/>
                  <a:moveTo>
                    <a:pt x="1328" y="2333"/>
                  </a:moveTo>
                  <a:lnTo>
                    <a:pt x="1328" y="2430"/>
                  </a:lnTo>
                  <a:lnTo>
                    <a:pt x="1328" y="2430"/>
                  </a:lnTo>
                  <a:lnTo>
                    <a:pt x="1321" y="2439"/>
                  </a:lnTo>
                  <a:lnTo>
                    <a:pt x="1313" y="2447"/>
                  </a:lnTo>
                  <a:lnTo>
                    <a:pt x="1308" y="2450"/>
                  </a:lnTo>
                  <a:lnTo>
                    <a:pt x="1303" y="2452"/>
                  </a:lnTo>
                  <a:lnTo>
                    <a:pt x="1298" y="2454"/>
                  </a:lnTo>
                  <a:lnTo>
                    <a:pt x="1291" y="2455"/>
                  </a:lnTo>
                  <a:lnTo>
                    <a:pt x="1291" y="2455"/>
                  </a:lnTo>
                  <a:lnTo>
                    <a:pt x="1284" y="2454"/>
                  </a:lnTo>
                  <a:lnTo>
                    <a:pt x="1277" y="2451"/>
                  </a:lnTo>
                  <a:lnTo>
                    <a:pt x="1271" y="2447"/>
                  </a:lnTo>
                  <a:lnTo>
                    <a:pt x="1265" y="2440"/>
                  </a:lnTo>
                  <a:lnTo>
                    <a:pt x="1259" y="2430"/>
                  </a:lnTo>
                  <a:lnTo>
                    <a:pt x="1255" y="2417"/>
                  </a:lnTo>
                  <a:lnTo>
                    <a:pt x="1253" y="2399"/>
                  </a:lnTo>
                  <a:lnTo>
                    <a:pt x="1252" y="2377"/>
                  </a:lnTo>
                  <a:lnTo>
                    <a:pt x="1252" y="2377"/>
                  </a:lnTo>
                  <a:lnTo>
                    <a:pt x="1253" y="2359"/>
                  </a:lnTo>
                  <a:lnTo>
                    <a:pt x="1255" y="2343"/>
                  </a:lnTo>
                  <a:lnTo>
                    <a:pt x="1259" y="2331"/>
                  </a:lnTo>
                  <a:lnTo>
                    <a:pt x="1265" y="2322"/>
                  </a:lnTo>
                  <a:lnTo>
                    <a:pt x="1271" y="2316"/>
                  </a:lnTo>
                  <a:lnTo>
                    <a:pt x="1277" y="2311"/>
                  </a:lnTo>
                  <a:lnTo>
                    <a:pt x="1284" y="2310"/>
                  </a:lnTo>
                  <a:lnTo>
                    <a:pt x="1291" y="2308"/>
                  </a:lnTo>
                  <a:lnTo>
                    <a:pt x="1291" y="2308"/>
                  </a:lnTo>
                  <a:lnTo>
                    <a:pt x="1298" y="2310"/>
                  </a:lnTo>
                  <a:lnTo>
                    <a:pt x="1304" y="2311"/>
                  </a:lnTo>
                  <a:lnTo>
                    <a:pt x="1309" y="2313"/>
                  </a:lnTo>
                  <a:lnTo>
                    <a:pt x="1314" y="2317"/>
                  </a:lnTo>
                  <a:lnTo>
                    <a:pt x="1319" y="2321"/>
                  </a:lnTo>
                  <a:lnTo>
                    <a:pt x="1322" y="2324"/>
                  </a:lnTo>
                  <a:lnTo>
                    <a:pt x="1328" y="2333"/>
                  </a:lnTo>
                  <a:lnTo>
                    <a:pt x="1328" y="2333"/>
                  </a:lnTo>
                  <a:close/>
                  <a:moveTo>
                    <a:pt x="885" y="2258"/>
                  </a:moveTo>
                  <a:lnTo>
                    <a:pt x="937" y="2258"/>
                  </a:lnTo>
                  <a:lnTo>
                    <a:pt x="937" y="2367"/>
                  </a:lnTo>
                  <a:lnTo>
                    <a:pt x="937" y="2505"/>
                  </a:lnTo>
                  <a:lnTo>
                    <a:pt x="885" y="2505"/>
                  </a:lnTo>
                  <a:lnTo>
                    <a:pt x="885" y="2258"/>
                  </a:lnTo>
                  <a:close/>
                  <a:moveTo>
                    <a:pt x="937" y="2192"/>
                  </a:moveTo>
                  <a:lnTo>
                    <a:pt x="937" y="2222"/>
                  </a:lnTo>
                  <a:lnTo>
                    <a:pt x="885" y="2222"/>
                  </a:lnTo>
                  <a:lnTo>
                    <a:pt x="885" y="2161"/>
                  </a:lnTo>
                  <a:lnTo>
                    <a:pt x="937" y="2161"/>
                  </a:lnTo>
                  <a:lnTo>
                    <a:pt x="937" y="2192"/>
                  </a:lnTo>
                  <a:close/>
                  <a:moveTo>
                    <a:pt x="2177" y="2186"/>
                  </a:moveTo>
                  <a:lnTo>
                    <a:pt x="2229" y="2155"/>
                  </a:lnTo>
                  <a:lnTo>
                    <a:pt x="2229" y="2379"/>
                  </a:lnTo>
                  <a:lnTo>
                    <a:pt x="2229" y="2505"/>
                  </a:lnTo>
                  <a:lnTo>
                    <a:pt x="2177" y="2505"/>
                  </a:lnTo>
                  <a:lnTo>
                    <a:pt x="2177" y="2186"/>
                  </a:lnTo>
                  <a:close/>
                  <a:moveTo>
                    <a:pt x="375" y="843"/>
                  </a:moveTo>
                  <a:lnTo>
                    <a:pt x="801" y="843"/>
                  </a:lnTo>
                  <a:lnTo>
                    <a:pt x="801" y="550"/>
                  </a:lnTo>
                  <a:lnTo>
                    <a:pt x="375" y="550"/>
                  </a:lnTo>
                  <a:lnTo>
                    <a:pt x="375" y="321"/>
                  </a:lnTo>
                  <a:lnTo>
                    <a:pt x="847" y="321"/>
                  </a:lnTo>
                  <a:lnTo>
                    <a:pt x="690" y="0"/>
                  </a:lnTo>
                  <a:lnTo>
                    <a:pt x="21" y="0"/>
                  </a:lnTo>
                  <a:lnTo>
                    <a:pt x="21" y="1394"/>
                  </a:lnTo>
                  <a:lnTo>
                    <a:pt x="965" y="1394"/>
                  </a:lnTo>
                  <a:lnTo>
                    <a:pt x="965" y="1073"/>
                  </a:lnTo>
                  <a:lnTo>
                    <a:pt x="375" y="1073"/>
                  </a:lnTo>
                  <a:lnTo>
                    <a:pt x="375" y="843"/>
                  </a:lnTo>
                  <a:close/>
                  <a:moveTo>
                    <a:pt x="1593" y="0"/>
                  </a:moveTo>
                  <a:lnTo>
                    <a:pt x="1393" y="455"/>
                  </a:lnTo>
                  <a:lnTo>
                    <a:pt x="1193" y="0"/>
                  </a:lnTo>
                  <a:lnTo>
                    <a:pt x="801" y="0"/>
                  </a:lnTo>
                  <a:lnTo>
                    <a:pt x="1214" y="843"/>
                  </a:lnTo>
                  <a:lnTo>
                    <a:pt x="1214" y="1394"/>
                  </a:lnTo>
                  <a:lnTo>
                    <a:pt x="1566" y="1394"/>
                  </a:lnTo>
                  <a:lnTo>
                    <a:pt x="1566" y="843"/>
                  </a:lnTo>
                  <a:lnTo>
                    <a:pt x="1979" y="0"/>
                  </a:lnTo>
                  <a:lnTo>
                    <a:pt x="159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5686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748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15" y="1597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4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15" y="1597"/>
                        <a:ext cx="190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738" y="1412879"/>
            <a:ext cx="9881236" cy="4519613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>
                <a:cs typeface="Arial"/>
              </a:defRPr>
            </a:lvl1pPr>
            <a:lvl2pPr>
              <a:defRPr>
                <a:cs typeface="Arial"/>
              </a:defRPr>
            </a:lvl2pPr>
            <a:lvl3pPr>
              <a:defRPr>
                <a:cs typeface="Arial"/>
              </a:defRPr>
            </a:lvl3pPr>
            <a:lvl4pPr>
              <a:defRPr>
                <a:cs typeface="Arial"/>
              </a:defRPr>
            </a:lvl4pPr>
            <a:lvl5pPr>
              <a:defRPr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64644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 descr="Satellite2"/>
          <p:cNvPicPr>
            <a:picLocks noChangeAspect="1" noChangeArrowheads="1"/>
          </p:cNvPicPr>
          <p:nvPr userDrawn="1"/>
        </p:nvPicPr>
        <p:blipFill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8" y="0"/>
            <a:ext cx="10972794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727905" y="5748934"/>
            <a:ext cx="118018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9072" y="757504"/>
            <a:ext cx="65880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9072" y="1753200"/>
            <a:ext cx="6588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109728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416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723601"/>
              </p:ext>
            </p:extLst>
          </p:nvPr>
        </p:nvGraphicFramePr>
        <p:xfrm>
          <a:off x="1589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170"/>
            <a:ext cx="9875520" cy="36576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062750"/>
            <a:ext cx="9875520" cy="469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202188"/>
            <a:ext cx="987552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84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043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381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5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6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716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1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604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624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65777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887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33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31871"/>
              </p:ext>
            </p:extLst>
          </p:nvPr>
        </p:nvGraphicFramePr>
        <p:xfrm>
          <a:off x="1635" y="1435"/>
          <a:ext cx="1626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5" y="1435"/>
                        <a:ext cx="1626" cy="14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92" y="457200"/>
            <a:ext cx="6496050" cy="4572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064363" y="1799130"/>
            <a:ext cx="5571672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64363" y="2769577"/>
            <a:ext cx="5571672" cy="645742"/>
          </a:xfrm>
          <a:prstGeom prst="rect">
            <a:avLst/>
          </a:prstGeom>
        </p:spPr>
        <p:txBody>
          <a:bodyPr lIns="90879" tIns="45426" rIns="90879" bIns="45426"/>
          <a:lstStyle>
            <a:lvl1pPr marL="0" indent="0" algn="l">
              <a:buNone/>
              <a:defRPr sz="2300"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  <a:lvl2pPr marL="0" indent="0" algn="l">
              <a:buNone/>
              <a:defRPr sz="1800">
                <a:solidFill>
                  <a:srgbClr val="404040"/>
                </a:solidFill>
              </a:defRPr>
            </a:lvl2pPr>
            <a:lvl3pPr marL="1043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312634" y="5702585"/>
            <a:ext cx="4660876" cy="708325"/>
            <a:chOff x="399256" y="6507163"/>
            <a:chExt cx="4544219" cy="783909"/>
          </a:xfrm>
        </p:grpSpPr>
        <p:sp>
          <p:nvSpPr>
            <p:cNvPr id="4" name="AutoShape 110"/>
            <p:cNvSpPr>
              <a:spLocks noChangeAspect="1" noChangeArrowheads="1" noTextEdit="1"/>
            </p:cNvSpPr>
            <p:nvPr userDrawn="1"/>
          </p:nvSpPr>
          <p:spPr bwMode="auto">
            <a:xfrm>
              <a:off x="520700" y="6507163"/>
              <a:ext cx="4422775" cy="684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" name="Rectangle 112"/>
            <p:cNvSpPr>
              <a:spLocks noChangeArrowheads="1"/>
            </p:cNvSpPr>
            <p:nvPr userDrawn="1"/>
          </p:nvSpPr>
          <p:spPr bwMode="auto">
            <a:xfrm>
              <a:off x="5334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6" name="Rectangle 113"/>
            <p:cNvSpPr>
              <a:spLocks noChangeArrowheads="1"/>
            </p:cNvSpPr>
            <p:nvPr userDrawn="1"/>
          </p:nvSpPr>
          <p:spPr bwMode="auto">
            <a:xfrm>
              <a:off x="7366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2" name="Rectangle 114"/>
            <p:cNvSpPr>
              <a:spLocks noChangeArrowheads="1"/>
            </p:cNvSpPr>
            <p:nvPr userDrawn="1"/>
          </p:nvSpPr>
          <p:spPr bwMode="auto">
            <a:xfrm>
              <a:off x="938213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3" name="Rectangle 115"/>
            <p:cNvSpPr>
              <a:spLocks noChangeArrowheads="1"/>
            </p:cNvSpPr>
            <p:nvPr userDrawn="1"/>
          </p:nvSpPr>
          <p:spPr bwMode="auto">
            <a:xfrm>
              <a:off x="399256" y="6746081"/>
              <a:ext cx="4159766" cy="544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question. The better the answer.</a:t>
              </a:r>
            </a:p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world works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16"/>
            <p:cNvSpPr>
              <a:spLocks noChangeArrowheads="1"/>
            </p:cNvSpPr>
            <p:nvPr userDrawn="1"/>
          </p:nvSpPr>
          <p:spPr bwMode="auto">
            <a:xfrm>
              <a:off x="64135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6" name="Rectangle 126"/>
            <p:cNvSpPr>
              <a:spLocks noChangeArrowheads="1"/>
            </p:cNvSpPr>
            <p:nvPr userDrawn="1"/>
          </p:nvSpPr>
          <p:spPr bwMode="auto">
            <a:xfrm>
              <a:off x="3470275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1" name="Rectangle 131"/>
            <p:cNvSpPr>
              <a:spLocks noChangeArrowheads="1"/>
            </p:cNvSpPr>
            <p:nvPr userDrawn="1"/>
          </p:nvSpPr>
          <p:spPr bwMode="auto">
            <a:xfrm>
              <a:off x="471170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2" name="Rectangle 132"/>
            <p:cNvSpPr>
              <a:spLocks noChangeArrowheads="1"/>
            </p:cNvSpPr>
            <p:nvPr userDrawn="1"/>
          </p:nvSpPr>
          <p:spPr bwMode="auto">
            <a:xfrm>
              <a:off x="4824413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4" name="Rectangle 144"/>
            <p:cNvSpPr>
              <a:spLocks noChangeArrowheads="1"/>
            </p:cNvSpPr>
            <p:nvPr userDrawn="1"/>
          </p:nvSpPr>
          <p:spPr bwMode="auto">
            <a:xfrm>
              <a:off x="2836864" y="69310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6" name="Rectangle 146"/>
            <p:cNvSpPr>
              <a:spLocks noChangeArrowheads="1"/>
            </p:cNvSpPr>
            <p:nvPr userDrawn="1"/>
          </p:nvSpPr>
          <p:spPr bwMode="auto">
            <a:xfrm>
              <a:off x="3040063" y="6931024"/>
              <a:ext cx="56264" cy="27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51" name="Group 50"/>
          <p:cNvGrpSpPr/>
          <p:nvPr userDrawn="1"/>
        </p:nvGrpSpPr>
        <p:grpSpPr>
          <a:xfrm>
            <a:off x="9250108" y="5340375"/>
            <a:ext cx="1185368" cy="1156150"/>
            <a:chOff x="9018588" y="5910263"/>
            <a:chExt cx="1155700" cy="1279526"/>
          </a:xfrm>
        </p:grpSpPr>
        <p:sp>
          <p:nvSpPr>
            <p:cNvPr id="48" name="AutoShape 148"/>
            <p:cNvSpPr>
              <a:spLocks noChangeAspect="1" noChangeArrowheads="1" noTextEdit="1"/>
            </p:cNvSpPr>
            <p:nvPr userDrawn="1"/>
          </p:nvSpPr>
          <p:spPr bwMode="auto">
            <a:xfrm>
              <a:off x="9018588" y="5910263"/>
              <a:ext cx="1155700" cy="127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49" name="Freeform 150"/>
            <p:cNvSpPr>
              <a:spLocks/>
            </p:cNvSpPr>
            <p:nvPr userDrawn="1"/>
          </p:nvSpPr>
          <p:spPr bwMode="auto">
            <a:xfrm>
              <a:off x="9018588" y="5910263"/>
              <a:ext cx="925513" cy="319088"/>
            </a:xfrm>
            <a:custGeom>
              <a:avLst/>
              <a:gdLst>
                <a:gd name="T0" fmla="*/ 2332 w 2332"/>
                <a:gd name="T1" fmla="*/ 0 h 1006"/>
                <a:gd name="T2" fmla="*/ 0 w 2332"/>
                <a:gd name="T3" fmla="*/ 1006 h 1006"/>
                <a:gd name="T4" fmla="*/ 2332 w 2332"/>
                <a:gd name="T5" fmla="*/ 519 h 1006"/>
                <a:gd name="T6" fmla="*/ 2332 w 2332"/>
                <a:gd name="T7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2" h="1006">
                  <a:moveTo>
                    <a:pt x="2332" y="0"/>
                  </a:moveTo>
                  <a:lnTo>
                    <a:pt x="0" y="1006"/>
                  </a:lnTo>
                  <a:lnTo>
                    <a:pt x="2332" y="519"/>
                  </a:lnTo>
                  <a:lnTo>
                    <a:pt x="2332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0" name="Freeform 151"/>
            <p:cNvSpPr>
              <a:spLocks noEditPoints="1"/>
            </p:cNvSpPr>
            <p:nvPr userDrawn="1"/>
          </p:nvSpPr>
          <p:spPr bwMode="auto">
            <a:xfrm>
              <a:off x="9018588" y="6362701"/>
              <a:ext cx="1155700" cy="827088"/>
            </a:xfrm>
            <a:custGeom>
              <a:avLst/>
              <a:gdLst>
                <a:gd name="T0" fmla="*/ 220 w 2912"/>
                <a:gd name="T1" fmla="*/ 1769 h 2606"/>
                <a:gd name="T2" fmla="*/ 238 w 2912"/>
                <a:gd name="T3" fmla="*/ 2000 h 2606"/>
                <a:gd name="T4" fmla="*/ 143 w 2912"/>
                <a:gd name="T5" fmla="*/ 2016 h 2606"/>
                <a:gd name="T6" fmla="*/ 331 w 2912"/>
                <a:gd name="T7" fmla="*/ 1962 h 2606"/>
                <a:gd name="T8" fmla="*/ 392 w 2912"/>
                <a:gd name="T9" fmla="*/ 2069 h 2606"/>
                <a:gd name="T10" fmla="*/ 1075 w 2912"/>
                <a:gd name="T11" fmla="*/ 1840 h 2606"/>
                <a:gd name="T12" fmla="*/ 1147 w 2912"/>
                <a:gd name="T13" fmla="*/ 1936 h 2606"/>
                <a:gd name="T14" fmla="*/ 657 w 2912"/>
                <a:gd name="T15" fmla="*/ 1722 h 2606"/>
                <a:gd name="T16" fmla="*/ 696 w 2912"/>
                <a:gd name="T17" fmla="*/ 1905 h 2606"/>
                <a:gd name="T18" fmla="*/ 811 w 2912"/>
                <a:gd name="T19" fmla="*/ 2065 h 2606"/>
                <a:gd name="T20" fmla="*/ 785 w 2912"/>
                <a:gd name="T21" fmla="*/ 1876 h 2606"/>
                <a:gd name="T22" fmla="*/ 1906 w 2912"/>
                <a:gd name="T23" fmla="*/ 2072 h 2606"/>
                <a:gd name="T24" fmla="*/ 2035 w 2912"/>
                <a:gd name="T25" fmla="*/ 1946 h 2606"/>
                <a:gd name="T26" fmla="*/ 1981 w 2912"/>
                <a:gd name="T27" fmla="*/ 1927 h 2606"/>
                <a:gd name="T28" fmla="*/ 1942 w 2912"/>
                <a:gd name="T29" fmla="*/ 1876 h 2606"/>
                <a:gd name="T30" fmla="*/ 1234 w 2912"/>
                <a:gd name="T31" fmla="*/ 1932 h 2606"/>
                <a:gd name="T32" fmla="*/ 1362 w 2912"/>
                <a:gd name="T33" fmla="*/ 2054 h 2606"/>
                <a:gd name="T34" fmla="*/ 1389 w 2912"/>
                <a:gd name="T35" fmla="*/ 2143 h 2606"/>
                <a:gd name="T36" fmla="*/ 1291 w 2912"/>
                <a:gd name="T37" fmla="*/ 1984 h 2606"/>
                <a:gd name="T38" fmla="*/ 1629 w 2912"/>
                <a:gd name="T39" fmla="*/ 1868 h 2606"/>
                <a:gd name="T40" fmla="*/ 1539 w 2912"/>
                <a:gd name="T41" fmla="*/ 1980 h 2606"/>
                <a:gd name="T42" fmla="*/ 1718 w 2912"/>
                <a:gd name="T43" fmla="*/ 1905 h 2606"/>
                <a:gd name="T44" fmla="*/ 1590 w 2912"/>
                <a:gd name="T45" fmla="*/ 1990 h 2606"/>
                <a:gd name="T46" fmla="*/ 1611 w 2912"/>
                <a:gd name="T47" fmla="*/ 2024 h 2606"/>
                <a:gd name="T48" fmla="*/ 2113 w 2912"/>
                <a:gd name="T49" fmla="*/ 1968 h 2606"/>
                <a:gd name="T50" fmla="*/ 2100 w 2912"/>
                <a:gd name="T51" fmla="*/ 1841 h 2606"/>
                <a:gd name="T52" fmla="*/ 2160 w 2912"/>
                <a:gd name="T53" fmla="*/ 2079 h 2606"/>
                <a:gd name="T54" fmla="*/ 2189 w 2912"/>
                <a:gd name="T55" fmla="*/ 1904 h 2606"/>
                <a:gd name="T56" fmla="*/ 2742 w 2912"/>
                <a:gd name="T57" fmla="*/ 1949 h 2606"/>
                <a:gd name="T58" fmla="*/ 2575 w 2912"/>
                <a:gd name="T59" fmla="*/ 1875 h 2606"/>
                <a:gd name="T60" fmla="*/ 2689 w 2912"/>
                <a:gd name="T61" fmla="*/ 2072 h 2606"/>
                <a:gd name="T62" fmla="*/ 2488 w 2912"/>
                <a:gd name="T63" fmla="*/ 1986 h 2606"/>
                <a:gd name="T64" fmla="*/ 2456 w 2912"/>
                <a:gd name="T65" fmla="*/ 2064 h 2606"/>
                <a:gd name="T66" fmla="*/ 2324 w 2912"/>
                <a:gd name="T67" fmla="*/ 2074 h 2606"/>
                <a:gd name="T68" fmla="*/ 2353 w 2912"/>
                <a:gd name="T69" fmla="*/ 2018 h 2606"/>
                <a:gd name="T70" fmla="*/ 2827 w 2912"/>
                <a:gd name="T71" fmla="*/ 1825 h 2606"/>
                <a:gd name="T72" fmla="*/ 919 w 2912"/>
                <a:gd name="T73" fmla="*/ 2072 h 2606"/>
                <a:gd name="T74" fmla="*/ 2278 w 2912"/>
                <a:gd name="T75" fmla="*/ 2305 h 2606"/>
                <a:gd name="T76" fmla="*/ 2367 w 2912"/>
                <a:gd name="T77" fmla="*/ 2508 h 2606"/>
                <a:gd name="T78" fmla="*/ 2344 w 2912"/>
                <a:gd name="T79" fmla="*/ 2311 h 2606"/>
                <a:gd name="T80" fmla="*/ 591 w 2912"/>
                <a:gd name="T81" fmla="*/ 2315 h 2606"/>
                <a:gd name="T82" fmla="*/ 634 w 2912"/>
                <a:gd name="T83" fmla="*/ 2327 h 2606"/>
                <a:gd name="T84" fmla="*/ 190 w 2912"/>
                <a:gd name="T85" fmla="*/ 2379 h 2606"/>
                <a:gd name="T86" fmla="*/ 292 w 2912"/>
                <a:gd name="T87" fmla="*/ 2422 h 2606"/>
                <a:gd name="T88" fmla="*/ 475 w 2912"/>
                <a:gd name="T89" fmla="*/ 2422 h 2606"/>
                <a:gd name="T90" fmla="*/ 353 w 2912"/>
                <a:gd name="T91" fmla="*/ 2434 h 2606"/>
                <a:gd name="T92" fmla="*/ 414 w 2912"/>
                <a:gd name="T93" fmla="*/ 2434 h 2606"/>
                <a:gd name="T94" fmla="*/ 2072 w 2912"/>
                <a:gd name="T95" fmla="*/ 2273 h 2606"/>
                <a:gd name="T96" fmla="*/ 1506 w 2912"/>
                <a:gd name="T97" fmla="*/ 2258 h 2606"/>
                <a:gd name="T98" fmla="*/ 1827 w 2912"/>
                <a:gd name="T99" fmla="*/ 2280 h 2606"/>
                <a:gd name="T100" fmla="*/ 1888 w 2912"/>
                <a:gd name="T101" fmla="*/ 2511 h 2606"/>
                <a:gd name="T102" fmla="*/ 1943 w 2912"/>
                <a:gd name="T103" fmla="*/ 2274 h 2606"/>
                <a:gd name="T104" fmla="*/ 1888 w 2912"/>
                <a:gd name="T105" fmla="*/ 2310 h 2606"/>
                <a:gd name="T106" fmla="*/ 723 w 2912"/>
                <a:gd name="T107" fmla="*/ 2155 h 2606"/>
                <a:gd name="T108" fmla="*/ 1133 w 2912"/>
                <a:gd name="T109" fmla="*/ 2269 h 2606"/>
                <a:gd name="T110" fmla="*/ 1045 w 2912"/>
                <a:gd name="T111" fmla="*/ 2324 h 2606"/>
                <a:gd name="T112" fmla="*/ 1207 w 2912"/>
                <a:gd name="T113" fmla="*/ 2315 h 2606"/>
                <a:gd name="T114" fmla="*/ 1306 w 2912"/>
                <a:gd name="T115" fmla="*/ 2505 h 2606"/>
                <a:gd name="T116" fmla="*/ 1323 w 2912"/>
                <a:gd name="T117" fmla="*/ 2599 h 2606"/>
                <a:gd name="T118" fmla="*/ 1277 w 2912"/>
                <a:gd name="T119" fmla="*/ 2451 h 2606"/>
                <a:gd name="T120" fmla="*/ 937 w 2912"/>
                <a:gd name="T121" fmla="*/ 2367 h 2606"/>
                <a:gd name="T122" fmla="*/ 375 w 2912"/>
                <a:gd name="T123" fmla="*/ 1073 h 2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12" h="2606">
                  <a:moveTo>
                    <a:pt x="242" y="1964"/>
                  </a:moveTo>
                  <a:lnTo>
                    <a:pt x="242" y="1964"/>
                  </a:lnTo>
                  <a:lnTo>
                    <a:pt x="242" y="1956"/>
                  </a:lnTo>
                  <a:lnTo>
                    <a:pt x="241" y="1948"/>
                  </a:lnTo>
                  <a:lnTo>
                    <a:pt x="238" y="1934"/>
                  </a:lnTo>
                  <a:lnTo>
                    <a:pt x="233" y="1921"/>
                  </a:lnTo>
                  <a:lnTo>
                    <a:pt x="227" y="1911"/>
                  </a:lnTo>
                  <a:lnTo>
                    <a:pt x="220" y="1904"/>
                  </a:lnTo>
                  <a:lnTo>
                    <a:pt x="212" y="1898"/>
                  </a:lnTo>
                  <a:lnTo>
                    <a:pt x="206" y="1893"/>
                  </a:lnTo>
                  <a:lnTo>
                    <a:pt x="200" y="1889"/>
                  </a:lnTo>
                  <a:lnTo>
                    <a:pt x="200" y="1889"/>
                  </a:lnTo>
                  <a:lnTo>
                    <a:pt x="207" y="1883"/>
                  </a:lnTo>
                  <a:lnTo>
                    <a:pt x="213" y="1877"/>
                  </a:lnTo>
                  <a:lnTo>
                    <a:pt x="219" y="1870"/>
                  </a:lnTo>
                  <a:lnTo>
                    <a:pt x="224" y="1861"/>
                  </a:lnTo>
                  <a:lnTo>
                    <a:pt x="228" y="1852"/>
                  </a:lnTo>
                  <a:lnTo>
                    <a:pt x="230" y="1843"/>
                  </a:lnTo>
                  <a:lnTo>
                    <a:pt x="232" y="1833"/>
                  </a:lnTo>
                  <a:lnTo>
                    <a:pt x="232" y="1822"/>
                  </a:lnTo>
                  <a:lnTo>
                    <a:pt x="232" y="1822"/>
                  </a:lnTo>
                  <a:lnTo>
                    <a:pt x="232" y="1812"/>
                  </a:lnTo>
                  <a:lnTo>
                    <a:pt x="231" y="1802"/>
                  </a:lnTo>
                  <a:lnTo>
                    <a:pt x="229" y="1793"/>
                  </a:lnTo>
                  <a:lnTo>
                    <a:pt x="227" y="1785"/>
                  </a:lnTo>
                  <a:lnTo>
                    <a:pt x="224" y="1776"/>
                  </a:lnTo>
                  <a:lnTo>
                    <a:pt x="220" y="1769"/>
                  </a:lnTo>
                  <a:lnTo>
                    <a:pt x="214" y="1763"/>
                  </a:lnTo>
                  <a:lnTo>
                    <a:pt x="209" y="1756"/>
                  </a:lnTo>
                  <a:lnTo>
                    <a:pt x="203" y="1752"/>
                  </a:lnTo>
                  <a:lnTo>
                    <a:pt x="197" y="1747"/>
                  </a:lnTo>
                  <a:lnTo>
                    <a:pt x="189" y="1743"/>
                  </a:lnTo>
                  <a:lnTo>
                    <a:pt x="181" y="1739"/>
                  </a:lnTo>
                  <a:lnTo>
                    <a:pt x="173" y="1737"/>
                  </a:lnTo>
                  <a:lnTo>
                    <a:pt x="163" y="1734"/>
                  </a:lnTo>
                  <a:lnTo>
                    <a:pt x="154" y="1734"/>
                  </a:lnTo>
                  <a:lnTo>
                    <a:pt x="144" y="1733"/>
                  </a:lnTo>
                  <a:lnTo>
                    <a:pt x="21" y="1733"/>
                  </a:lnTo>
                  <a:lnTo>
                    <a:pt x="21" y="2072"/>
                  </a:lnTo>
                  <a:lnTo>
                    <a:pt x="143" y="2072"/>
                  </a:lnTo>
                  <a:lnTo>
                    <a:pt x="143" y="2072"/>
                  </a:lnTo>
                  <a:lnTo>
                    <a:pt x="154" y="2072"/>
                  </a:lnTo>
                  <a:lnTo>
                    <a:pt x="164" y="2071"/>
                  </a:lnTo>
                  <a:lnTo>
                    <a:pt x="175" y="2069"/>
                  </a:lnTo>
                  <a:lnTo>
                    <a:pt x="184" y="2065"/>
                  </a:lnTo>
                  <a:lnTo>
                    <a:pt x="194" y="2061"/>
                  </a:lnTo>
                  <a:lnTo>
                    <a:pt x="202" y="2056"/>
                  </a:lnTo>
                  <a:lnTo>
                    <a:pt x="209" y="2050"/>
                  </a:lnTo>
                  <a:lnTo>
                    <a:pt x="215" y="2044"/>
                  </a:lnTo>
                  <a:lnTo>
                    <a:pt x="222" y="2037"/>
                  </a:lnTo>
                  <a:lnTo>
                    <a:pt x="227" y="2028"/>
                  </a:lnTo>
                  <a:lnTo>
                    <a:pt x="232" y="2020"/>
                  </a:lnTo>
                  <a:lnTo>
                    <a:pt x="235" y="2010"/>
                  </a:lnTo>
                  <a:lnTo>
                    <a:pt x="238" y="2000"/>
                  </a:lnTo>
                  <a:lnTo>
                    <a:pt x="240" y="1989"/>
                  </a:lnTo>
                  <a:lnTo>
                    <a:pt x="241" y="1977"/>
                  </a:lnTo>
                  <a:lnTo>
                    <a:pt x="242" y="1964"/>
                  </a:lnTo>
                  <a:lnTo>
                    <a:pt x="242" y="1964"/>
                  </a:lnTo>
                  <a:close/>
                  <a:moveTo>
                    <a:pt x="143" y="2016"/>
                  </a:moveTo>
                  <a:lnTo>
                    <a:pt x="74" y="2016"/>
                  </a:lnTo>
                  <a:lnTo>
                    <a:pt x="74" y="1919"/>
                  </a:lnTo>
                  <a:lnTo>
                    <a:pt x="143" y="1919"/>
                  </a:lnTo>
                  <a:lnTo>
                    <a:pt x="143" y="1919"/>
                  </a:lnTo>
                  <a:lnTo>
                    <a:pt x="153" y="1920"/>
                  </a:lnTo>
                  <a:lnTo>
                    <a:pt x="161" y="1921"/>
                  </a:lnTo>
                  <a:lnTo>
                    <a:pt x="169" y="1925"/>
                  </a:lnTo>
                  <a:lnTo>
                    <a:pt x="175" y="1931"/>
                  </a:lnTo>
                  <a:lnTo>
                    <a:pt x="180" y="1937"/>
                  </a:lnTo>
                  <a:lnTo>
                    <a:pt x="183" y="1946"/>
                  </a:lnTo>
                  <a:lnTo>
                    <a:pt x="185" y="1956"/>
                  </a:lnTo>
                  <a:lnTo>
                    <a:pt x="186" y="1967"/>
                  </a:lnTo>
                  <a:lnTo>
                    <a:pt x="186" y="1967"/>
                  </a:lnTo>
                  <a:lnTo>
                    <a:pt x="185" y="1978"/>
                  </a:lnTo>
                  <a:lnTo>
                    <a:pt x="183" y="1988"/>
                  </a:lnTo>
                  <a:lnTo>
                    <a:pt x="179" y="1996"/>
                  </a:lnTo>
                  <a:lnTo>
                    <a:pt x="175" y="2002"/>
                  </a:lnTo>
                  <a:lnTo>
                    <a:pt x="169" y="2009"/>
                  </a:lnTo>
                  <a:lnTo>
                    <a:pt x="161" y="2012"/>
                  </a:lnTo>
                  <a:lnTo>
                    <a:pt x="152" y="2015"/>
                  </a:lnTo>
                  <a:lnTo>
                    <a:pt x="143" y="2016"/>
                  </a:lnTo>
                  <a:lnTo>
                    <a:pt x="143" y="2016"/>
                  </a:lnTo>
                  <a:close/>
                  <a:moveTo>
                    <a:pt x="142" y="1863"/>
                  </a:moveTo>
                  <a:lnTo>
                    <a:pt x="74" y="1863"/>
                  </a:lnTo>
                  <a:lnTo>
                    <a:pt x="74" y="1791"/>
                  </a:lnTo>
                  <a:lnTo>
                    <a:pt x="139" y="1791"/>
                  </a:lnTo>
                  <a:lnTo>
                    <a:pt x="139" y="1791"/>
                  </a:lnTo>
                  <a:lnTo>
                    <a:pt x="148" y="1792"/>
                  </a:lnTo>
                  <a:lnTo>
                    <a:pt x="156" y="1793"/>
                  </a:lnTo>
                  <a:lnTo>
                    <a:pt x="162" y="1796"/>
                  </a:lnTo>
                  <a:lnTo>
                    <a:pt x="168" y="1800"/>
                  </a:lnTo>
                  <a:lnTo>
                    <a:pt x="172" y="1806"/>
                  </a:lnTo>
                  <a:lnTo>
                    <a:pt x="175" y="1812"/>
                  </a:lnTo>
                  <a:lnTo>
                    <a:pt x="176" y="1819"/>
                  </a:lnTo>
                  <a:lnTo>
                    <a:pt x="177" y="1828"/>
                  </a:lnTo>
                  <a:lnTo>
                    <a:pt x="177" y="1828"/>
                  </a:lnTo>
                  <a:lnTo>
                    <a:pt x="177" y="1834"/>
                  </a:lnTo>
                  <a:lnTo>
                    <a:pt x="176" y="1840"/>
                  </a:lnTo>
                  <a:lnTo>
                    <a:pt x="174" y="1846"/>
                  </a:lnTo>
                  <a:lnTo>
                    <a:pt x="171" y="1851"/>
                  </a:lnTo>
                  <a:lnTo>
                    <a:pt x="165" y="1856"/>
                  </a:lnTo>
                  <a:lnTo>
                    <a:pt x="159" y="1860"/>
                  </a:lnTo>
                  <a:lnTo>
                    <a:pt x="152" y="1862"/>
                  </a:lnTo>
                  <a:lnTo>
                    <a:pt x="142" y="1863"/>
                  </a:lnTo>
                  <a:lnTo>
                    <a:pt x="142" y="1863"/>
                  </a:lnTo>
                  <a:close/>
                  <a:moveTo>
                    <a:pt x="279" y="1965"/>
                  </a:moveTo>
                  <a:lnTo>
                    <a:pt x="279" y="1825"/>
                  </a:lnTo>
                  <a:lnTo>
                    <a:pt x="331" y="1825"/>
                  </a:lnTo>
                  <a:lnTo>
                    <a:pt x="331" y="1962"/>
                  </a:lnTo>
                  <a:lnTo>
                    <a:pt x="331" y="1962"/>
                  </a:lnTo>
                  <a:lnTo>
                    <a:pt x="331" y="1975"/>
                  </a:lnTo>
                  <a:lnTo>
                    <a:pt x="333" y="1989"/>
                  </a:lnTo>
                  <a:lnTo>
                    <a:pt x="336" y="1999"/>
                  </a:lnTo>
                  <a:lnTo>
                    <a:pt x="340" y="2007"/>
                  </a:lnTo>
                  <a:lnTo>
                    <a:pt x="346" y="2013"/>
                  </a:lnTo>
                  <a:lnTo>
                    <a:pt x="352" y="2018"/>
                  </a:lnTo>
                  <a:lnTo>
                    <a:pt x="360" y="2021"/>
                  </a:lnTo>
                  <a:lnTo>
                    <a:pt x="369" y="2022"/>
                  </a:lnTo>
                  <a:lnTo>
                    <a:pt x="369" y="2022"/>
                  </a:lnTo>
                  <a:lnTo>
                    <a:pt x="379" y="2021"/>
                  </a:lnTo>
                  <a:lnTo>
                    <a:pt x="386" y="2018"/>
                  </a:lnTo>
                  <a:lnTo>
                    <a:pt x="393" y="2013"/>
                  </a:lnTo>
                  <a:lnTo>
                    <a:pt x="399" y="2007"/>
                  </a:lnTo>
                  <a:lnTo>
                    <a:pt x="403" y="1999"/>
                  </a:lnTo>
                  <a:lnTo>
                    <a:pt x="406" y="1988"/>
                  </a:lnTo>
                  <a:lnTo>
                    <a:pt x="408" y="1975"/>
                  </a:lnTo>
                  <a:lnTo>
                    <a:pt x="408" y="1962"/>
                  </a:lnTo>
                  <a:lnTo>
                    <a:pt x="408" y="1825"/>
                  </a:lnTo>
                  <a:lnTo>
                    <a:pt x="460" y="1825"/>
                  </a:lnTo>
                  <a:lnTo>
                    <a:pt x="460" y="2072"/>
                  </a:lnTo>
                  <a:lnTo>
                    <a:pt x="408" y="2072"/>
                  </a:lnTo>
                  <a:lnTo>
                    <a:pt x="408" y="2053"/>
                  </a:lnTo>
                  <a:lnTo>
                    <a:pt x="408" y="2053"/>
                  </a:lnTo>
                  <a:lnTo>
                    <a:pt x="404" y="2059"/>
                  </a:lnTo>
                  <a:lnTo>
                    <a:pt x="398" y="2064"/>
                  </a:lnTo>
                  <a:lnTo>
                    <a:pt x="392" y="2069"/>
                  </a:lnTo>
                  <a:lnTo>
                    <a:pt x="386" y="2071"/>
                  </a:lnTo>
                  <a:lnTo>
                    <a:pt x="380" y="2075"/>
                  </a:lnTo>
                  <a:lnTo>
                    <a:pt x="373" y="2076"/>
                  </a:lnTo>
                  <a:lnTo>
                    <a:pt x="365" y="2077"/>
                  </a:lnTo>
                  <a:lnTo>
                    <a:pt x="358" y="2079"/>
                  </a:lnTo>
                  <a:lnTo>
                    <a:pt x="358" y="2079"/>
                  </a:lnTo>
                  <a:lnTo>
                    <a:pt x="346" y="2077"/>
                  </a:lnTo>
                  <a:lnTo>
                    <a:pt x="335" y="2075"/>
                  </a:lnTo>
                  <a:lnTo>
                    <a:pt x="326" y="2071"/>
                  </a:lnTo>
                  <a:lnTo>
                    <a:pt x="316" y="2066"/>
                  </a:lnTo>
                  <a:lnTo>
                    <a:pt x="309" y="2060"/>
                  </a:lnTo>
                  <a:lnTo>
                    <a:pt x="303" y="2054"/>
                  </a:lnTo>
                  <a:lnTo>
                    <a:pt x="298" y="2045"/>
                  </a:lnTo>
                  <a:lnTo>
                    <a:pt x="292" y="2037"/>
                  </a:lnTo>
                  <a:lnTo>
                    <a:pt x="289" y="2028"/>
                  </a:lnTo>
                  <a:lnTo>
                    <a:pt x="286" y="2020"/>
                  </a:lnTo>
                  <a:lnTo>
                    <a:pt x="282" y="2000"/>
                  </a:lnTo>
                  <a:lnTo>
                    <a:pt x="280" y="1981"/>
                  </a:lnTo>
                  <a:lnTo>
                    <a:pt x="279" y="1965"/>
                  </a:lnTo>
                  <a:lnTo>
                    <a:pt x="279" y="1965"/>
                  </a:lnTo>
                  <a:close/>
                  <a:moveTo>
                    <a:pt x="1070" y="2072"/>
                  </a:moveTo>
                  <a:lnTo>
                    <a:pt x="1018" y="2072"/>
                  </a:lnTo>
                  <a:lnTo>
                    <a:pt x="1018" y="1825"/>
                  </a:lnTo>
                  <a:lnTo>
                    <a:pt x="1070" y="1825"/>
                  </a:lnTo>
                  <a:lnTo>
                    <a:pt x="1070" y="1846"/>
                  </a:lnTo>
                  <a:lnTo>
                    <a:pt x="1070" y="1846"/>
                  </a:lnTo>
                  <a:lnTo>
                    <a:pt x="1075" y="1840"/>
                  </a:lnTo>
                  <a:lnTo>
                    <a:pt x="1080" y="1834"/>
                  </a:lnTo>
                  <a:lnTo>
                    <a:pt x="1087" y="1830"/>
                  </a:lnTo>
                  <a:lnTo>
                    <a:pt x="1093" y="1827"/>
                  </a:lnTo>
                  <a:lnTo>
                    <a:pt x="1100" y="1823"/>
                  </a:lnTo>
                  <a:lnTo>
                    <a:pt x="1106" y="1822"/>
                  </a:lnTo>
                  <a:lnTo>
                    <a:pt x="1115" y="1820"/>
                  </a:lnTo>
                  <a:lnTo>
                    <a:pt x="1122" y="1819"/>
                  </a:lnTo>
                  <a:lnTo>
                    <a:pt x="1122" y="1819"/>
                  </a:lnTo>
                  <a:lnTo>
                    <a:pt x="1131" y="1820"/>
                  </a:lnTo>
                  <a:lnTo>
                    <a:pt x="1140" y="1822"/>
                  </a:lnTo>
                  <a:lnTo>
                    <a:pt x="1148" y="1824"/>
                  </a:lnTo>
                  <a:lnTo>
                    <a:pt x="1155" y="1827"/>
                  </a:lnTo>
                  <a:lnTo>
                    <a:pt x="1163" y="1830"/>
                  </a:lnTo>
                  <a:lnTo>
                    <a:pt x="1169" y="1836"/>
                  </a:lnTo>
                  <a:lnTo>
                    <a:pt x="1174" y="1841"/>
                  </a:lnTo>
                  <a:lnTo>
                    <a:pt x="1179" y="1849"/>
                  </a:lnTo>
                  <a:lnTo>
                    <a:pt x="1184" y="1856"/>
                  </a:lnTo>
                  <a:lnTo>
                    <a:pt x="1187" y="1865"/>
                  </a:lnTo>
                  <a:lnTo>
                    <a:pt x="1192" y="1873"/>
                  </a:lnTo>
                  <a:lnTo>
                    <a:pt x="1194" y="1883"/>
                  </a:lnTo>
                  <a:lnTo>
                    <a:pt x="1196" y="1894"/>
                  </a:lnTo>
                  <a:lnTo>
                    <a:pt x="1198" y="1906"/>
                  </a:lnTo>
                  <a:lnTo>
                    <a:pt x="1199" y="1919"/>
                  </a:lnTo>
                  <a:lnTo>
                    <a:pt x="1199" y="1932"/>
                  </a:lnTo>
                  <a:lnTo>
                    <a:pt x="1199" y="2072"/>
                  </a:lnTo>
                  <a:lnTo>
                    <a:pt x="1147" y="2072"/>
                  </a:lnTo>
                  <a:lnTo>
                    <a:pt x="1147" y="1936"/>
                  </a:lnTo>
                  <a:lnTo>
                    <a:pt x="1147" y="1936"/>
                  </a:lnTo>
                  <a:lnTo>
                    <a:pt x="1147" y="1921"/>
                  </a:lnTo>
                  <a:lnTo>
                    <a:pt x="1145" y="1909"/>
                  </a:lnTo>
                  <a:lnTo>
                    <a:pt x="1142" y="1899"/>
                  </a:lnTo>
                  <a:lnTo>
                    <a:pt x="1138" y="1890"/>
                  </a:lnTo>
                  <a:lnTo>
                    <a:pt x="1132" y="1884"/>
                  </a:lnTo>
                  <a:lnTo>
                    <a:pt x="1126" y="1879"/>
                  </a:lnTo>
                  <a:lnTo>
                    <a:pt x="1119" y="1877"/>
                  </a:lnTo>
                  <a:lnTo>
                    <a:pt x="1109" y="1876"/>
                  </a:lnTo>
                  <a:lnTo>
                    <a:pt x="1109" y="1876"/>
                  </a:lnTo>
                  <a:lnTo>
                    <a:pt x="1100" y="1877"/>
                  </a:lnTo>
                  <a:lnTo>
                    <a:pt x="1092" y="1879"/>
                  </a:lnTo>
                  <a:lnTo>
                    <a:pt x="1085" y="1884"/>
                  </a:lnTo>
                  <a:lnTo>
                    <a:pt x="1080" y="1890"/>
                  </a:lnTo>
                  <a:lnTo>
                    <a:pt x="1075" y="1899"/>
                  </a:lnTo>
                  <a:lnTo>
                    <a:pt x="1072" y="1910"/>
                  </a:lnTo>
                  <a:lnTo>
                    <a:pt x="1070" y="1922"/>
                  </a:lnTo>
                  <a:lnTo>
                    <a:pt x="1070" y="1936"/>
                  </a:lnTo>
                  <a:lnTo>
                    <a:pt x="1070" y="2072"/>
                  </a:lnTo>
                  <a:close/>
                  <a:moveTo>
                    <a:pt x="559" y="1948"/>
                  </a:moveTo>
                  <a:lnTo>
                    <a:pt x="559" y="2072"/>
                  </a:lnTo>
                  <a:lnTo>
                    <a:pt x="507" y="2072"/>
                  </a:lnTo>
                  <a:lnTo>
                    <a:pt x="507" y="1825"/>
                  </a:lnTo>
                  <a:lnTo>
                    <a:pt x="559" y="1825"/>
                  </a:lnTo>
                  <a:lnTo>
                    <a:pt x="559" y="1948"/>
                  </a:lnTo>
                  <a:close/>
                  <a:moveTo>
                    <a:pt x="605" y="1753"/>
                  </a:moveTo>
                  <a:lnTo>
                    <a:pt x="657" y="1722"/>
                  </a:lnTo>
                  <a:lnTo>
                    <a:pt x="657" y="1946"/>
                  </a:lnTo>
                  <a:lnTo>
                    <a:pt x="657" y="2072"/>
                  </a:lnTo>
                  <a:lnTo>
                    <a:pt x="605" y="2072"/>
                  </a:lnTo>
                  <a:lnTo>
                    <a:pt x="605" y="1753"/>
                  </a:lnTo>
                  <a:close/>
                  <a:moveTo>
                    <a:pt x="821" y="1843"/>
                  </a:moveTo>
                  <a:lnTo>
                    <a:pt x="821" y="1843"/>
                  </a:lnTo>
                  <a:lnTo>
                    <a:pt x="817" y="1836"/>
                  </a:lnTo>
                  <a:lnTo>
                    <a:pt x="812" y="1833"/>
                  </a:lnTo>
                  <a:lnTo>
                    <a:pt x="806" y="1828"/>
                  </a:lnTo>
                  <a:lnTo>
                    <a:pt x="800" y="1825"/>
                  </a:lnTo>
                  <a:lnTo>
                    <a:pt x="794" y="1823"/>
                  </a:lnTo>
                  <a:lnTo>
                    <a:pt x="788" y="1820"/>
                  </a:lnTo>
                  <a:lnTo>
                    <a:pt x="775" y="1819"/>
                  </a:lnTo>
                  <a:lnTo>
                    <a:pt x="775" y="1819"/>
                  </a:lnTo>
                  <a:lnTo>
                    <a:pt x="766" y="1820"/>
                  </a:lnTo>
                  <a:lnTo>
                    <a:pt x="757" y="1822"/>
                  </a:lnTo>
                  <a:lnTo>
                    <a:pt x="748" y="1824"/>
                  </a:lnTo>
                  <a:lnTo>
                    <a:pt x="741" y="1828"/>
                  </a:lnTo>
                  <a:lnTo>
                    <a:pt x="734" y="1833"/>
                  </a:lnTo>
                  <a:lnTo>
                    <a:pt x="726" y="1839"/>
                  </a:lnTo>
                  <a:lnTo>
                    <a:pt x="720" y="1846"/>
                  </a:lnTo>
                  <a:lnTo>
                    <a:pt x="715" y="1854"/>
                  </a:lnTo>
                  <a:lnTo>
                    <a:pt x="710" y="1862"/>
                  </a:lnTo>
                  <a:lnTo>
                    <a:pt x="706" y="1872"/>
                  </a:lnTo>
                  <a:lnTo>
                    <a:pt x="701" y="1882"/>
                  </a:lnTo>
                  <a:lnTo>
                    <a:pt x="698" y="1893"/>
                  </a:lnTo>
                  <a:lnTo>
                    <a:pt x="696" y="1905"/>
                  </a:lnTo>
                  <a:lnTo>
                    <a:pt x="694" y="1919"/>
                  </a:lnTo>
                  <a:lnTo>
                    <a:pt x="693" y="1932"/>
                  </a:lnTo>
                  <a:lnTo>
                    <a:pt x="693" y="1946"/>
                  </a:lnTo>
                  <a:lnTo>
                    <a:pt x="693" y="1946"/>
                  </a:lnTo>
                  <a:lnTo>
                    <a:pt x="693" y="1962"/>
                  </a:lnTo>
                  <a:lnTo>
                    <a:pt x="694" y="1975"/>
                  </a:lnTo>
                  <a:lnTo>
                    <a:pt x="696" y="1989"/>
                  </a:lnTo>
                  <a:lnTo>
                    <a:pt x="698" y="2001"/>
                  </a:lnTo>
                  <a:lnTo>
                    <a:pt x="701" y="2013"/>
                  </a:lnTo>
                  <a:lnTo>
                    <a:pt x="705" y="2024"/>
                  </a:lnTo>
                  <a:lnTo>
                    <a:pt x="709" y="2034"/>
                  </a:lnTo>
                  <a:lnTo>
                    <a:pt x="714" y="2043"/>
                  </a:lnTo>
                  <a:lnTo>
                    <a:pt x="720" y="2052"/>
                  </a:lnTo>
                  <a:lnTo>
                    <a:pt x="725" y="2058"/>
                  </a:lnTo>
                  <a:lnTo>
                    <a:pt x="733" y="2064"/>
                  </a:lnTo>
                  <a:lnTo>
                    <a:pt x="740" y="2069"/>
                  </a:lnTo>
                  <a:lnTo>
                    <a:pt x="747" y="2072"/>
                  </a:lnTo>
                  <a:lnTo>
                    <a:pt x="756" y="2076"/>
                  </a:lnTo>
                  <a:lnTo>
                    <a:pt x="765" y="2077"/>
                  </a:lnTo>
                  <a:lnTo>
                    <a:pt x="774" y="2079"/>
                  </a:lnTo>
                  <a:lnTo>
                    <a:pt x="774" y="2079"/>
                  </a:lnTo>
                  <a:lnTo>
                    <a:pt x="781" y="2077"/>
                  </a:lnTo>
                  <a:lnTo>
                    <a:pt x="787" y="2076"/>
                  </a:lnTo>
                  <a:lnTo>
                    <a:pt x="793" y="2075"/>
                  </a:lnTo>
                  <a:lnTo>
                    <a:pt x="799" y="2072"/>
                  </a:lnTo>
                  <a:lnTo>
                    <a:pt x="804" y="2069"/>
                  </a:lnTo>
                  <a:lnTo>
                    <a:pt x="811" y="2065"/>
                  </a:lnTo>
                  <a:lnTo>
                    <a:pt x="816" y="2060"/>
                  </a:lnTo>
                  <a:lnTo>
                    <a:pt x="821" y="2054"/>
                  </a:lnTo>
                  <a:lnTo>
                    <a:pt x="821" y="2072"/>
                  </a:lnTo>
                  <a:lnTo>
                    <a:pt x="873" y="2072"/>
                  </a:lnTo>
                  <a:lnTo>
                    <a:pt x="873" y="1722"/>
                  </a:lnTo>
                  <a:lnTo>
                    <a:pt x="821" y="1753"/>
                  </a:lnTo>
                  <a:lnTo>
                    <a:pt x="821" y="1843"/>
                  </a:lnTo>
                  <a:close/>
                  <a:moveTo>
                    <a:pt x="785" y="2022"/>
                  </a:moveTo>
                  <a:lnTo>
                    <a:pt x="785" y="2022"/>
                  </a:lnTo>
                  <a:lnTo>
                    <a:pt x="778" y="2021"/>
                  </a:lnTo>
                  <a:lnTo>
                    <a:pt x="771" y="2018"/>
                  </a:lnTo>
                  <a:lnTo>
                    <a:pt x="765" y="2015"/>
                  </a:lnTo>
                  <a:lnTo>
                    <a:pt x="759" y="2007"/>
                  </a:lnTo>
                  <a:lnTo>
                    <a:pt x="753" y="1997"/>
                  </a:lnTo>
                  <a:lnTo>
                    <a:pt x="749" y="1984"/>
                  </a:lnTo>
                  <a:lnTo>
                    <a:pt x="746" y="1967"/>
                  </a:lnTo>
                  <a:lnTo>
                    <a:pt x="745" y="1945"/>
                  </a:lnTo>
                  <a:lnTo>
                    <a:pt x="745" y="1945"/>
                  </a:lnTo>
                  <a:lnTo>
                    <a:pt x="746" y="1925"/>
                  </a:lnTo>
                  <a:lnTo>
                    <a:pt x="749" y="1910"/>
                  </a:lnTo>
                  <a:lnTo>
                    <a:pt x="753" y="1898"/>
                  </a:lnTo>
                  <a:lnTo>
                    <a:pt x="759" y="1889"/>
                  </a:lnTo>
                  <a:lnTo>
                    <a:pt x="764" y="1882"/>
                  </a:lnTo>
                  <a:lnTo>
                    <a:pt x="771" y="1878"/>
                  </a:lnTo>
                  <a:lnTo>
                    <a:pt x="777" y="1876"/>
                  </a:lnTo>
                  <a:lnTo>
                    <a:pt x="785" y="1876"/>
                  </a:lnTo>
                  <a:lnTo>
                    <a:pt x="785" y="1876"/>
                  </a:lnTo>
                  <a:lnTo>
                    <a:pt x="791" y="1876"/>
                  </a:lnTo>
                  <a:lnTo>
                    <a:pt x="797" y="1878"/>
                  </a:lnTo>
                  <a:lnTo>
                    <a:pt x="803" y="1881"/>
                  </a:lnTo>
                  <a:lnTo>
                    <a:pt x="808" y="1884"/>
                  </a:lnTo>
                  <a:lnTo>
                    <a:pt x="812" y="1888"/>
                  </a:lnTo>
                  <a:lnTo>
                    <a:pt x="816" y="1892"/>
                  </a:lnTo>
                  <a:lnTo>
                    <a:pt x="821" y="1900"/>
                  </a:lnTo>
                  <a:lnTo>
                    <a:pt x="821" y="1997"/>
                  </a:lnTo>
                  <a:lnTo>
                    <a:pt x="821" y="1997"/>
                  </a:lnTo>
                  <a:lnTo>
                    <a:pt x="815" y="2006"/>
                  </a:lnTo>
                  <a:lnTo>
                    <a:pt x="808" y="2013"/>
                  </a:lnTo>
                  <a:lnTo>
                    <a:pt x="803" y="2017"/>
                  </a:lnTo>
                  <a:lnTo>
                    <a:pt x="797" y="2020"/>
                  </a:lnTo>
                  <a:lnTo>
                    <a:pt x="792" y="2021"/>
                  </a:lnTo>
                  <a:lnTo>
                    <a:pt x="785" y="2022"/>
                  </a:lnTo>
                  <a:lnTo>
                    <a:pt x="785" y="2022"/>
                  </a:lnTo>
                  <a:close/>
                  <a:moveTo>
                    <a:pt x="1951" y="1819"/>
                  </a:moveTo>
                  <a:lnTo>
                    <a:pt x="1951" y="1819"/>
                  </a:lnTo>
                  <a:lnTo>
                    <a:pt x="1946" y="1820"/>
                  </a:lnTo>
                  <a:lnTo>
                    <a:pt x="1940" y="1822"/>
                  </a:lnTo>
                  <a:lnTo>
                    <a:pt x="1927" y="1825"/>
                  </a:lnTo>
                  <a:lnTo>
                    <a:pt x="1916" y="1833"/>
                  </a:lnTo>
                  <a:lnTo>
                    <a:pt x="1906" y="1843"/>
                  </a:lnTo>
                  <a:lnTo>
                    <a:pt x="1906" y="1728"/>
                  </a:lnTo>
                  <a:lnTo>
                    <a:pt x="1854" y="1759"/>
                  </a:lnTo>
                  <a:lnTo>
                    <a:pt x="1854" y="2072"/>
                  </a:lnTo>
                  <a:lnTo>
                    <a:pt x="1906" y="2072"/>
                  </a:lnTo>
                  <a:lnTo>
                    <a:pt x="1906" y="2054"/>
                  </a:lnTo>
                  <a:lnTo>
                    <a:pt x="1906" y="2054"/>
                  </a:lnTo>
                  <a:lnTo>
                    <a:pt x="1910" y="2060"/>
                  </a:lnTo>
                  <a:lnTo>
                    <a:pt x="1916" y="2065"/>
                  </a:lnTo>
                  <a:lnTo>
                    <a:pt x="1921" y="2069"/>
                  </a:lnTo>
                  <a:lnTo>
                    <a:pt x="1927" y="2072"/>
                  </a:lnTo>
                  <a:lnTo>
                    <a:pt x="1933" y="2075"/>
                  </a:lnTo>
                  <a:lnTo>
                    <a:pt x="1940" y="2076"/>
                  </a:lnTo>
                  <a:lnTo>
                    <a:pt x="1946" y="2077"/>
                  </a:lnTo>
                  <a:lnTo>
                    <a:pt x="1952" y="2079"/>
                  </a:lnTo>
                  <a:lnTo>
                    <a:pt x="1952" y="2079"/>
                  </a:lnTo>
                  <a:lnTo>
                    <a:pt x="1962" y="2077"/>
                  </a:lnTo>
                  <a:lnTo>
                    <a:pt x="1971" y="2076"/>
                  </a:lnTo>
                  <a:lnTo>
                    <a:pt x="1979" y="2074"/>
                  </a:lnTo>
                  <a:lnTo>
                    <a:pt x="1988" y="2069"/>
                  </a:lnTo>
                  <a:lnTo>
                    <a:pt x="1995" y="2064"/>
                  </a:lnTo>
                  <a:lnTo>
                    <a:pt x="2001" y="2059"/>
                  </a:lnTo>
                  <a:lnTo>
                    <a:pt x="2008" y="2052"/>
                  </a:lnTo>
                  <a:lnTo>
                    <a:pt x="2013" y="2044"/>
                  </a:lnTo>
                  <a:lnTo>
                    <a:pt x="2018" y="2034"/>
                  </a:lnTo>
                  <a:lnTo>
                    <a:pt x="2022" y="2024"/>
                  </a:lnTo>
                  <a:lnTo>
                    <a:pt x="2025" y="2013"/>
                  </a:lnTo>
                  <a:lnTo>
                    <a:pt x="2028" y="2002"/>
                  </a:lnTo>
                  <a:lnTo>
                    <a:pt x="2032" y="1990"/>
                  </a:lnTo>
                  <a:lnTo>
                    <a:pt x="2033" y="1977"/>
                  </a:lnTo>
                  <a:lnTo>
                    <a:pt x="2034" y="1962"/>
                  </a:lnTo>
                  <a:lnTo>
                    <a:pt x="2035" y="1946"/>
                  </a:lnTo>
                  <a:lnTo>
                    <a:pt x="2035" y="1946"/>
                  </a:lnTo>
                  <a:lnTo>
                    <a:pt x="2034" y="1932"/>
                  </a:lnTo>
                  <a:lnTo>
                    <a:pt x="2033" y="1919"/>
                  </a:lnTo>
                  <a:lnTo>
                    <a:pt x="2030" y="1905"/>
                  </a:lnTo>
                  <a:lnTo>
                    <a:pt x="2028" y="1893"/>
                  </a:lnTo>
                  <a:lnTo>
                    <a:pt x="2025" y="1882"/>
                  </a:lnTo>
                  <a:lnTo>
                    <a:pt x="2021" y="1872"/>
                  </a:lnTo>
                  <a:lnTo>
                    <a:pt x="2017" y="1862"/>
                  </a:lnTo>
                  <a:lnTo>
                    <a:pt x="2012" y="1854"/>
                  </a:lnTo>
                  <a:lnTo>
                    <a:pt x="2007" y="1846"/>
                  </a:lnTo>
                  <a:lnTo>
                    <a:pt x="2000" y="1839"/>
                  </a:lnTo>
                  <a:lnTo>
                    <a:pt x="1993" y="1833"/>
                  </a:lnTo>
                  <a:lnTo>
                    <a:pt x="1986" y="1828"/>
                  </a:lnTo>
                  <a:lnTo>
                    <a:pt x="1978" y="1824"/>
                  </a:lnTo>
                  <a:lnTo>
                    <a:pt x="1970" y="1822"/>
                  </a:lnTo>
                  <a:lnTo>
                    <a:pt x="1961" y="1820"/>
                  </a:lnTo>
                  <a:lnTo>
                    <a:pt x="1951" y="1819"/>
                  </a:lnTo>
                  <a:lnTo>
                    <a:pt x="1951" y="1819"/>
                  </a:lnTo>
                  <a:close/>
                  <a:moveTo>
                    <a:pt x="1942" y="1876"/>
                  </a:moveTo>
                  <a:lnTo>
                    <a:pt x="1942" y="1876"/>
                  </a:lnTo>
                  <a:lnTo>
                    <a:pt x="1949" y="1877"/>
                  </a:lnTo>
                  <a:lnTo>
                    <a:pt x="1957" y="1879"/>
                  </a:lnTo>
                  <a:lnTo>
                    <a:pt x="1963" y="1884"/>
                  </a:lnTo>
                  <a:lnTo>
                    <a:pt x="1969" y="1892"/>
                  </a:lnTo>
                  <a:lnTo>
                    <a:pt x="1974" y="1900"/>
                  </a:lnTo>
                  <a:lnTo>
                    <a:pt x="1977" y="1913"/>
                  </a:lnTo>
                  <a:lnTo>
                    <a:pt x="1981" y="1927"/>
                  </a:lnTo>
                  <a:lnTo>
                    <a:pt x="1982" y="1945"/>
                  </a:lnTo>
                  <a:lnTo>
                    <a:pt x="1982" y="1945"/>
                  </a:lnTo>
                  <a:lnTo>
                    <a:pt x="1981" y="1963"/>
                  </a:lnTo>
                  <a:lnTo>
                    <a:pt x="1978" y="1979"/>
                  </a:lnTo>
                  <a:lnTo>
                    <a:pt x="1976" y="1991"/>
                  </a:lnTo>
                  <a:lnTo>
                    <a:pt x="1972" y="2002"/>
                  </a:lnTo>
                  <a:lnTo>
                    <a:pt x="1966" y="2011"/>
                  </a:lnTo>
                  <a:lnTo>
                    <a:pt x="1960" y="2017"/>
                  </a:lnTo>
                  <a:lnTo>
                    <a:pt x="1952" y="2021"/>
                  </a:lnTo>
                  <a:lnTo>
                    <a:pt x="1943" y="2022"/>
                  </a:lnTo>
                  <a:lnTo>
                    <a:pt x="1943" y="2022"/>
                  </a:lnTo>
                  <a:lnTo>
                    <a:pt x="1936" y="2021"/>
                  </a:lnTo>
                  <a:lnTo>
                    <a:pt x="1930" y="2020"/>
                  </a:lnTo>
                  <a:lnTo>
                    <a:pt x="1924" y="2016"/>
                  </a:lnTo>
                  <a:lnTo>
                    <a:pt x="1919" y="2013"/>
                  </a:lnTo>
                  <a:lnTo>
                    <a:pt x="1911" y="2005"/>
                  </a:lnTo>
                  <a:lnTo>
                    <a:pt x="1906" y="1999"/>
                  </a:lnTo>
                  <a:lnTo>
                    <a:pt x="1906" y="1900"/>
                  </a:lnTo>
                  <a:lnTo>
                    <a:pt x="1906" y="1900"/>
                  </a:lnTo>
                  <a:lnTo>
                    <a:pt x="1909" y="1895"/>
                  </a:lnTo>
                  <a:lnTo>
                    <a:pt x="1913" y="1890"/>
                  </a:lnTo>
                  <a:lnTo>
                    <a:pt x="1917" y="1886"/>
                  </a:lnTo>
                  <a:lnTo>
                    <a:pt x="1921" y="1882"/>
                  </a:lnTo>
                  <a:lnTo>
                    <a:pt x="1926" y="1879"/>
                  </a:lnTo>
                  <a:lnTo>
                    <a:pt x="1932" y="1877"/>
                  </a:lnTo>
                  <a:lnTo>
                    <a:pt x="1937" y="1876"/>
                  </a:lnTo>
                  <a:lnTo>
                    <a:pt x="1942" y="1876"/>
                  </a:lnTo>
                  <a:lnTo>
                    <a:pt x="1942" y="1876"/>
                  </a:lnTo>
                  <a:close/>
                  <a:moveTo>
                    <a:pt x="1362" y="1843"/>
                  </a:moveTo>
                  <a:lnTo>
                    <a:pt x="1362" y="1843"/>
                  </a:lnTo>
                  <a:lnTo>
                    <a:pt x="1358" y="1838"/>
                  </a:lnTo>
                  <a:lnTo>
                    <a:pt x="1353" y="1833"/>
                  </a:lnTo>
                  <a:lnTo>
                    <a:pt x="1347" y="1829"/>
                  </a:lnTo>
                  <a:lnTo>
                    <a:pt x="1342" y="1825"/>
                  </a:lnTo>
                  <a:lnTo>
                    <a:pt x="1335" y="1823"/>
                  </a:lnTo>
                  <a:lnTo>
                    <a:pt x="1329" y="1820"/>
                  </a:lnTo>
                  <a:lnTo>
                    <a:pt x="1323" y="1820"/>
                  </a:lnTo>
                  <a:lnTo>
                    <a:pt x="1317" y="1819"/>
                  </a:lnTo>
                  <a:lnTo>
                    <a:pt x="1317" y="1819"/>
                  </a:lnTo>
                  <a:lnTo>
                    <a:pt x="1307" y="1820"/>
                  </a:lnTo>
                  <a:lnTo>
                    <a:pt x="1298" y="1822"/>
                  </a:lnTo>
                  <a:lnTo>
                    <a:pt x="1289" y="1824"/>
                  </a:lnTo>
                  <a:lnTo>
                    <a:pt x="1282" y="1828"/>
                  </a:lnTo>
                  <a:lnTo>
                    <a:pt x="1275" y="1833"/>
                  </a:lnTo>
                  <a:lnTo>
                    <a:pt x="1268" y="1839"/>
                  </a:lnTo>
                  <a:lnTo>
                    <a:pt x="1261" y="1846"/>
                  </a:lnTo>
                  <a:lnTo>
                    <a:pt x="1256" y="1854"/>
                  </a:lnTo>
                  <a:lnTo>
                    <a:pt x="1251" y="1862"/>
                  </a:lnTo>
                  <a:lnTo>
                    <a:pt x="1247" y="1872"/>
                  </a:lnTo>
                  <a:lnTo>
                    <a:pt x="1243" y="1882"/>
                  </a:lnTo>
                  <a:lnTo>
                    <a:pt x="1240" y="1893"/>
                  </a:lnTo>
                  <a:lnTo>
                    <a:pt x="1237" y="1905"/>
                  </a:lnTo>
                  <a:lnTo>
                    <a:pt x="1235" y="1919"/>
                  </a:lnTo>
                  <a:lnTo>
                    <a:pt x="1234" y="1932"/>
                  </a:lnTo>
                  <a:lnTo>
                    <a:pt x="1234" y="1946"/>
                  </a:lnTo>
                  <a:lnTo>
                    <a:pt x="1234" y="1946"/>
                  </a:lnTo>
                  <a:lnTo>
                    <a:pt x="1234" y="1962"/>
                  </a:lnTo>
                  <a:lnTo>
                    <a:pt x="1235" y="1975"/>
                  </a:lnTo>
                  <a:lnTo>
                    <a:pt x="1237" y="1989"/>
                  </a:lnTo>
                  <a:lnTo>
                    <a:pt x="1240" y="2001"/>
                  </a:lnTo>
                  <a:lnTo>
                    <a:pt x="1243" y="2013"/>
                  </a:lnTo>
                  <a:lnTo>
                    <a:pt x="1246" y="2024"/>
                  </a:lnTo>
                  <a:lnTo>
                    <a:pt x="1251" y="2034"/>
                  </a:lnTo>
                  <a:lnTo>
                    <a:pt x="1255" y="2043"/>
                  </a:lnTo>
                  <a:lnTo>
                    <a:pt x="1261" y="2052"/>
                  </a:lnTo>
                  <a:lnTo>
                    <a:pt x="1267" y="2058"/>
                  </a:lnTo>
                  <a:lnTo>
                    <a:pt x="1274" y="2064"/>
                  </a:lnTo>
                  <a:lnTo>
                    <a:pt x="1281" y="2069"/>
                  </a:lnTo>
                  <a:lnTo>
                    <a:pt x="1288" y="2072"/>
                  </a:lnTo>
                  <a:lnTo>
                    <a:pt x="1297" y="2076"/>
                  </a:lnTo>
                  <a:lnTo>
                    <a:pt x="1306" y="2077"/>
                  </a:lnTo>
                  <a:lnTo>
                    <a:pt x="1315" y="2077"/>
                  </a:lnTo>
                  <a:lnTo>
                    <a:pt x="1315" y="2077"/>
                  </a:lnTo>
                  <a:lnTo>
                    <a:pt x="1322" y="2077"/>
                  </a:lnTo>
                  <a:lnTo>
                    <a:pt x="1328" y="2076"/>
                  </a:lnTo>
                  <a:lnTo>
                    <a:pt x="1334" y="2075"/>
                  </a:lnTo>
                  <a:lnTo>
                    <a:pt x="1340" y="2072"/>
                  </a:lnTo>
                  <a:lnTo>
                    <a:pt x="1347" y="2069"/>
                  </a:lnTo>
                  <a:lnTo>
                    <a:pt x="1352" y="2064"/>
                  </a:lnTo>
                  <a:lnTo>
                    <a:pt x="1357" y="2060"/>
                  </a:lnTo>
                  <a:lnTo>
                    <a:pt x="1362" y="2054"/>
                  </a:lnTo>
                  <a:lnTo>
                    <a:pt x="1362" y="2060"/>
                  </a:lnTo>
                  <a:lnTo>
                    <a:pt x="1362" y="2060"/>
                  </a:lnTo>
                  <a:lnTo>
                    <a:pt x="1362" y="2070"/>
                  </a:lnTo>
                  <a:lnTo>
                    <a:pt x="1361" y="2081"/>
                  </a:lnTo>
                  <a:lnTo>
                    <a:pt x="1359" y="2092"/>
                  </a:lnTo>
                  <a:lnTo>
                    <a:pt x="1357" y="2097"/>
                  </a:lnTo>
                  <a:lnTo>
                    <a:pt x="1354" y="2102"/>
                  </a:lnTo>
                  <a:lnTo>
                    <a:pt x="1351" y="2107"/>
                  </a:lnTo>
                  <a:lnTo>
                    <a:pt x="1347" y="2112"/>
                  </a:lnTo>
                  <a:lnTo>
                    <a:pt x="1340" y="2115"/>
                  </a:lnTo>
                  <a:lnTo>
                    <a:pt x="1334" y="2118"/>
                  </a:lnTo>
                  <a:lnTo>
                    <a:pt x="1327" y="2122"/>
                  </a:lnTo>
                  <a:lnTo>
                    <a:pt x="1318" y="2123"/>
                  </a:lnTo>
                  <a:lnTo>
                    <a:pt x="1307" y="2125"/>
                  </a:lnTo>
                  <a:lnTo>
                    <a:pt x="1296" y="2125"/>
                  </a:lnTo>
                  <a:lnTo>
                    <a:pt x="1294" y="2125"/>
                  </a:lnTo>
                  <a:lnTo>
                    <a:pt x="1311" y="2173"/>
                  </a:lnTo>
                  <a:lnTo>
                    <a:pt x="1312" y="2173"/>
                  </a:lnTo>
                  <a:lnTo>
                    <a:pt x="1312" y="2173"/>
                  </a:lnTo>
                  <a:lnTo>
                    <a:pt x="1325" y="2173"/>
                  </a:lnTo>
                  <a:lnTo>
                    <a:pt x="1336" y="2171"/>
                  </a:lnTo>
                  <a:lnTo>
                    <a:pt x="1348" y="2168"/>
                  </a:lnTo>
                  <a:lnTo>
                    <a:pt x="1357" y="2165"/>
                  </a:lnTo>
                  <a:lnTo>
                    <a:pt x="1366" y="2161"/>
                  </a:lnTo>
                  <a:lnTo>
                    <a:pt x="1375" y="2156"/>
                  </a:lnTo>
                  <a:lnTo>
                    <a:pt x="1382" y="2149"/>
                  </a:lnTo>
                  <a:lnTo>
                    <a:pt x="1389" y="2143"/>
                  </a:lnTo>
                  <a:lnTo>
                    <a:pt x="1396" y="2134"/>
                  </a:lnTo>
                  <a:lnTo>
                    <a:pt x="1400" y="2124"/>
                  </a:lnTo>
                  <a:lnTo>
                    <a:pt x="1405" y="2114"/>
                  </a:lnTo>
                  <a:lnTo>
                    <a:pt x="1408" y="2103"/>
                  </a:lnTo>
                  <a:lnTo>
                    <a:pt x="1411" y="2091"/>
                  </a:lnTo>
                  <a:lnTo>
                    <a:pt x="1413" y="2079"/>
                  </a:lnTo>
                  <a:lnTo>
                    <a:pt x="1414" y="2065"/>
                  </a:lnTo>
                  <a:lnTo>
                    <a:pt x="1414" y="2049"/>
                  </a:lnTo>
                  <a:lnTo>
                    <a:pt x="1414" y="1825"/>
                  </a:lnTo>
                  <a:lnTo>
                    <a:pt x="1362" y="1825"/>
                  </a:lnTo>
                  <a:lnTo>
                    <a:pt x="1362" y="1843"/>
                  </a:lnTo>
                  <a:close/>
                  <a:moveTo>
                    <a:pt x="1362" y="1900"/>
                  </a:moveTo>
                  <a:lnTo>
                    <a:pt x="1362" y="1997"/>
                  </a:lnTo>
                  <a:lnTo>
                    <a:pt x="1362" y="1997"/>
                  </a:lnTo>
                  <a:lnTo>
                    <a:pt x="1356" y="2006"/>
                  </a:lnTo>
                  <a:lnTo>
                    <a:pt x="1348" y="2015"/>
                  </a:lnTo>
                  <a:lnTo>
                    <a:pt x="1344" y="2017"/>
                  </a:lnTo>
                  <a:lnTo>
                    <a:pt x="1338" y="2020"/>
                  </a:lnTo>
                  <a:lnTo>
                    <a:pt x="1332" y="2021"/>
                  </a:lnTo>
                  <a:lnTo>
                    <a:pt x="1326" y="2022"/>
                  </a:lnTo>
                  <a:lnTo>
                    <a:pt x="1326" y="2022"/>
                  </a:lnTo>
                  <a:lnTo>
                    <a:pt x="1319" y="2021"/>
                  </a:lnTo>
                  <a:lnTo>
                    <a:pt x="1312" y="2018"/>
                  </a:lnTo>
                  <a:lnTo>
                    <a:pt x="1305" y="2013"/>
                  </a:lnTo>
                  <a:lnTo>
                    <a:pt x="1300" y="2007"/>
                  </a:lnTo>
                  <a:lnTo>
                    <a:pt x="1295" y="1997"/>
                  </a:lnTo>
                  <a:lnTo>
                    <a:pt x="1291" y="1984"/>
                  </a:lnTo>
                  <a:lnTo>
                    <a:pt x="1287" y="1967"/>
                  </a:lnTo>
                  <a:lnTo>
                    <a:pt x="1286" y="1945"/>
                  </a:lnTo>
                  <a:lnTo>
                    <a:pt x="1286" y="1945"/>
                  </a:lnTo>
                  <a:lnTo>
                    <a:pt x="1287" y="1925"/>
                  </a:lnTo>
                  <a:lnTo>
                    <a:pt x="1291" y="1910"/>
                  </a:lnTo>
                  <a:lnTo>
                    <a:pt x="1295" y="1898"/>
                  </a:lnTo>
                  <a:lnTo>
                    <a:pt x="1300" y="1889"/>
                  </a:lnTo>
                  <a:lnTo>
                    <a:pt x="1305" y="1882"/>
                  </a:lnTo>
                  <a:lnTo>
                    <a:pt x="1312" y="1878"/>
                  </a:lnTo>
                  <a:lnTo>
                    <a:pt x="1319" y="1876"/>
                  </a:lnTo>
                  <a:lnTo>
                    <a:pt x="1326" y="1876"/>
                  </a:lnTo>
                  <a:lnTo>
                    <a:pt x="1326" y="1876"/>
                  </a:lnTo>
                  <a:lnTo>
                    <a:pt x="1332" y="1876"/>
                  </a:lnTo>
                  <a:lnTo>
                    <a:pt x="1338" y="1878"/>
                  </a:lnTo>
                  <a:lnTo>
                    <a:pt x="1345" y="1881"/>
                  </a:lnTo>
                  <a:lnTo>
                    <a:pt x="1349" y="1883"/>
                  </a:lnTo>
                  <a:lnTo>
                    <a:pt x="1353" y="1888"/>
                  </a:lnTo>
                  <a:lnTo>
                    <a:pt x="1357" y="1892"/>
                  </a:lnTo>
                  <a:lnTo>
                    <a:pt x="1362" y="1900"/>
                  </a:lnTo>
                  <a:lnTo>
                    <a:pt x="1362" y="1900"/>
                  </a:lnTo>
                  <a:close/>
                  <a:moveTo>
                    <a:pt x="1576" y="1886"/>
                  </a:moveTo>
                  <a:lnTo>
                    <a:pt x="1576" y="1886"/>
                  </a:lnTo>
                  <a:lnTo>
                    <a:pt x="1588" y="1878"/>
                  </a:lnTo>
                  <a:lnTo>
                    <a:pt x="1601" y="1873"/>
                  </a:lnTo>
                  <a:lnTo>
                    <a:pt x="1614" y="1870"/>
                  </a:lnTo>
                  <a:lnTo>
                    <a:pt x="1629" y="1868"/>
                  </a:lnTo>
                  <a:lnTo>
                    <a:pt x="1629" y="1868"/>
                  </a:lnTo>
                  <a:lnTo>
                    <a:pt x="1638" y="1870"/>
                  </a:lnTo>
                  <a:lnTo>
                    <a:pt x="1645" y="1871"/>
                  </a:lnTo>
                  <a:lnTo>
                    <a:pt x="1652" y="1873"/>
                  </a:lnTo>
                  <a:lnTo>
                    <a:pt x="1657" y="1878"/>
                  </a:lnTo>
                  <a:lnTo>
                    <a:pt x="1661" y="1883"/>
                  </a:lnTo>
                  <a:lnTo>
                    <a:pt x="1664" y="1889"/>
                  </a:lnTo>
                  <a:lnTo>
                    <a:pt x="1666" y="1895"/>
                  </a:lnTo>
                  <a:lnTo>
                    <a:pt x="1666" y="1904"/>
                  </a:lnTo>
                  <a:lnTo>
                    <a:pt x="1666" y="1921"/>
                  </a:lnTo>
                  <a:lnTo>
                    <a:pt x="1666" y="1921"/>
                  </a:lnTo>
                  <a:lnTo>
                    <a:pt x="1657" y="1916"/>
                  </a:lnTo>
                  <a:lnTo>
                    <a:pt x="1645" y="1913"/>
                  </a:lnTo>
                  <a:lnTo>
                    <a:pt x="1634" y="1910"/>
                  </a:lnTo>
                  <a:lnTo>
                    <a:pt x="1621" y="1909"/>
                  </a:lnTo>
                  <a:lnTo>
                    <a:pt x="1621" y="1909"/>
                  </a:lnTo>
                  <a:lnTo>
                    <a:pt x="1607" y="1910"/>
                  </a:lnTo>
                  <a:lnTo>
                    <a:pt x="1592" y="1914"/>
                  </a:lnTo>
                  <a:lnTo>
                    <a:pt x="1579" y="1919"/>
                  </a:lnTo>
                  <a:lnTo>
                    <a:pt x="1572" y="1922"/>
                  </a:lnTo>
                  <a:lnTo>
                    <a:pt x="1565" y="1927"/>
                  </a:lnTo>
                  <a:lnTo>
                    <a:pt x="1560" y="1932"/>
                  </a:lnTo>
                  <a:lnTo>
                    <a:pt x="1555" y="1938"/>
                  </a:lnTo>
                  <a:lnTo>
                    <a:pt x="1550" y="1945"/>
                  </a:lnTo>
                  <a:lnTo>
                    <a:pt x="1546" y="1952"/>
                  </a:lnTo>
                  <a:lnTo>
                    <a:pt x="1542" y="1961"/>
                  </a:lnTo>
                  <a:lnTo>
                    <a:pt x="1540" y="1970"/>
                  </a:lnTo>
                  <a:lnTo>
                    <a:pt x="1539" y="1980"/>
                  </a:lnTo>
                  <a:lnTo>
                    <a:pt x="1538" y="1990"/>
                  </a:lnTo>
                  <a:lnTo>
                    <a:pt x="1538" y="1990"/>
                  </a:lnTo>
                  <a:lnTo>
                    <a:pt x="1539" y="2002"/>
                  </a:lnTo>
                  <a:lnTo>
                    <a:pt x="1540" y="2013"/>
                  </a:lnTo>
                  <a:lnTo>
                    <a:pt x="1542" y="2022"/>
                  </a:lnTo>
                  <a:lnTo>
                    <a:pt x="1546" y="2032"/>
                  </a:lnTo>
                  <a:lnTo>
                    <a:pt x="1549" y="2039"/>
                  </a:lnTo>
                  <a:lnTo>
                    <a:pt x="1554" y="2047"/>
                  </a:lnTo>
                  <a:lnTo>
                    <a:pt x="1558" y="2053"/>
                  </a:lnTo>
                  <a:lnTo>
                    <a:pt x="1564" y="2059"/>
                  </a:lnTo>
                  <a:lnTo>
                    <a:pt x="1569" y="2064"/>
                  </a:lnTo>
                  <a:lnTo>
                    <a:pt x="1576" y="2068"/>
                  </a:lnTo>
                  <a:lnTo>
                    <a:pt x="1589" y="2074"/>
                  </a:lnTo>
                  <a:lnTo>
                    <a:pt x="1603" y="2077"/>
                  </a:lnTo>
                  <a:lnTo>
                    <a:pt x="1616" y="2079"/>
                  </a:lnTo>
                  <a:lnTo>
                    <a:pt x="1616" y="2079"/>
                  </a:lnTo>
                  <a:lnTo>
                    <a:pt x="1628" y="2076"/>
                  </a:lnTo>
                  <a:lnTo>
                    <a:pt x="1635" y="2075"/>
                  </a:lnTo>
                  <a:lnTo>
                    <a:pt x="1641" y="2072"/>
                  </a:lnTo>
                  <a:lnTo>
                    <a:pt x="1649" y="2069"/>
                  </a:lnTo>
                  <a:lnTo>
                    <a:pt x="1655" y="2064"/>
                  </a:lnTo>
                  <a:lnTo>
                    <a:pt x="1661" y="2059"/>
                  </a:lnTo>
                  <a:lnTo>
                    <a:pt x="1666" y="2053"/>
                  </a:lnTo>
                  <a:lnTo>
                    <a:pt x="1666" y="2072"/>
                  </a:lnTo>
                  <a:lnTo>
                    <a:pt x="1718" y="2072"/>
                  </a:lnTo>
                  <a:lnTo>
                    <a:pt x="1718" y="1905"/>
                  </a:lnTo>
                  <a:lnTo>
                    <a:pt x="1718" y="1905"/>
                  </a:lnTo>
                  <a:lnTo>
                    <a:pt x="1718" y="1895"/>
                  </a:lnTo>
                  <a:lnTo>
                    <a:pt x="1717" y="1887"/>
                  </a:lnTo>
                  <a:lnTo>
                    <a:pt x="1715" y="1878"/>
                  </a:lnTo>
                  <a:lnTo>
                    <a:pt x="1713" y="1870"/>
                  </a:lnTo>
                  <a:lnTo>
                    <a:pt x="1709" y="1862"/>
                  </a:lnTo>
                  <a:lnTo>
                    <a:pt x="1706" y="1855"/>
                  </a:lnTo>
                  <a:lnTo>
                    <a:pt x="1701" y="1849"/>
                  </a:lnTo>
                  <a:lnTo>
                    <a:pt x="1695" y="1843"/>
                  </a:lnTo>
                  <a:lnTo>
                    <a:pt x="1690" y="1838"/>
                  </a:lnTo>
                  <a:lnTo>
                    <a:pt x="1684" y="1833"/>
                  </a:lnTo>
                  <a:lnTo>
                    <a:pt x="1677" y="1829"/>
                  </a:lnTo>
                  <a:lnTo>
                    <a:pt x="1669" y="1825"/>
                  </a:lnTo>
                  <a:lnTo>
                    <a:pt x="1661" y="1823"/>
                  </a:lnTo>
                  <a:lnTo>
                    <a:pt x="1653" y="1822"/>
                  </a:lnTo>
                  <a:lnTo>
                    <a:pt x="1643" y="1820"/>
                  </a:lnTo>
                  <a:lnTo>
                    <a:pt x="1634" y="1819"/>
                  </a:lnTo>
                  <a:lnTo>
                    <a:pt x="1634" y="1819"/>
                  </a:lnTo>
                  <a:lnTo>
                    <a:pt x="1623" y="1820"/>
                  </a:lnTo>
                  <a:lnTo>
                    <a:pt x="1613" y="1820"/>
                  </a:lnTo>
                  <a:lnTo>
                    <a:pt x="1603" y="1823"/>
                  </a:lnTo>
                  <a:lnTo>
                    <a:pt x="1592" y="1825"/>
                  </a:lnTo>
                  <a:lnTo>
                    <a:pt x="1583" y="1829"/>
                  </a:lnTo>
                  <a:lnTo>
                    <a:pt x="1574" y="1833"/>
                  </a:lnTo>
                  <a:lnTo>
                    <a:pt x="1564" y="1838"/>
                  </a:lnTo>
                  <a:lnTo>
                    <a:pt x="1555" y="1844"/>
                  </a:lnTo>
                  <a:lnTo>
                    <a:pt x="1576" y="1886"/>
                  </a:lnTo>
                  <a:close/>
                  <a:moveTo>
                    <a:pt x="1590" y="1990"/>
                  </a:moveTo>
                  <a:lnTo>
                    <a:pt x="1590" y="1990"/>
                  </a:lnTo>
                  <a:lnTo>
                    <a:pt x="1590" y="1983"/>
                  </a:lnTo>
                  <a:lnTo>
                    <a:pt x="1592" y="1975"/>
                  </a:lnTo>
                  <a:lnTo>
                    <a:pt x="1595" y="1969"/>
                  </a:lnTo>
                  <a:lnTo>
                    <a:pt x="1600" y="1964"/>
                  </a:lnTo>
                  <a:lnTo>
                    <a:pt x="1605" y="1961"/>
                  </a:lnTo>
                  <a:lnTo>
                    <a:pt x="1611" y="1958"/>
                  </a:lnTo>
                  <a:lnTo>
                    <a:pt x="1618" y="1956"/>
                  </a:lnTo>
                  <a:lnTo>
                    <a:pt x="1626" y="1956"/>
                  </a:lnTo>
                  <a:lnTo>
                    <a:pt x="1626" y="1956"/>
                  </a:lnTo>
                  <a:lnTo>
                    <a:pt x="1637" y="1956"/>
                  </a:lnTo>
                  <a:lnTo>
                    <a:pt x="1647" y="1958"/>
                  </a:lnTo>
                  <a:lnTo>
                    <a:pt x="1657" y="1962"/>
                  </a:lnTo>
                  <a:lnTo>
                    <a:pt x="1666" y="1968"/>
                  </a:lnTo>
                  <a:lnTo>
                    <a:pt x="1666" y="2001"/>
                  </a:lnTo>
                  <a:lnTo>
                    <a:pt x="1666" y="2001"/>
                  </a:lnTo>
                  <a:lnTo>
                    <a:pt x="1664" y="2006"/>
                  </a:lnTo>
                  <a:lnTo>
                    <a:pt x="1660" y="2011"/>
                  </a:lnTo>
                  <a:lnTo>
                    <a:pt x="1656" y="2016"/>
                  </a:lnTo>
                  <a:lnTo>
                    <a:pt x="1651" y="2020"/>
                  </a:lnTo>
                  <a:lnTo>
                    <a:pt x="1645" y="2023"/>
                  </a:lnTo>
                  <a:lnTo>
                    <a:pt x="1639" y="2026"/>
                  </a:lnTo>
                  <a:lnTo>
                    <a:pt x="1633" y="2027"/>
                  </a:lnTo>
                  <a:lnTo>
                    <a:pt x="1626" y="2028"/>
                  </a:lnTo>
                  <a:lnTo>
                    <a:pt x="1626" y="2028"/>
                  </a:lnTo>
                  <a:lnTo>
                    <a:pt x="1618" y="2027"/>
                  </a:lnTo>
                  <a:lnTo>
                    <a:pt x="1611" y="2024"/>
                  </a:lnTo>
                  <a:lnTo>
                    <a:pt x="1605" y="2022"/>
                  </a:lnTo>
                  <a:lnTo>
                    <a:pt x="1600" y="2017"/>
                  </a:lnTo>
                  <a:lnTo>
                    <a:pt x="1595" y="2012"/>
                  </a:lnTo>
                  <a:lnTo>
                    <a:pt x="1592" y="2006"/>
                  </a:lnTo>
                  <a:lnTo>
                    <a:pt x="1591" y="1999"/>
                  </a:lnTo>
                  <a:lnTo>
                    <a:pt x="1590" y="1990"/>
                  </a:lnTo>
                  <a:lnTo>
                    <a:pt x="1590" y="1990"/>
                  </a:lnTo>
                  <a:close/>
                  <a:moveTo>
                    <a:pt x="2200" y="2001"/>
                  </a:moveTo>
                  <a:lnTo>
                    <a:pt x="2200" y="2001"/>
                  </a:lnTo>
                  <a:lnTo>
                    <a:pt x="2193" y="2009"/>
                  </a:lnTo>
                  <a:lnTo>
                    <a:pt x="2183" y="2015"/>
                  </a:lnTo>
                  <a:lnTo>
                    <a:pt x="2178" y="2017"/>
                  </a:lnTo>
                  <a:lnTo>
                    <a:pt x="2172" y="2020"/>
                  </a:lnTo>
                  <a:lnTo>
                    <a:pt x="2166" y="2021"/>
                  </a:lnTo>
                  <a:lnTo>
                    <a:pt x="2160" y="2022"/>
                  </a:lnTo>
                  <a:lnTo>
                    <a:pt x="2160" y="2022"/>
                  </a:lnTo>
                  <a:lnTo>
                    <a:pt x="2154" y="2021"/>
                  </a:lnTo>
                  <a:lnTo>
                    <a:pt x="2148" y="2021"/>
                  </a:lnTo>
                  <a:lnTo>
                    <a:pt x="2141" y="2018"/>
                  </a:lnTo>
                  <a:lnTo>
                    <a:pt x="2132" y="2013"/>
                  </a:lnTo>
                  <a:lnTo>
                    <a:pt x="2125" y="2007"/>
                  </a:lnTo>
                  <a:lnTo>
                    <a:pt x="2122" y="2002"/>
                  </a:lnTo>
                  <a:lnTo>
                    <a:pt x="2119" y="1997"/>
                  </a:lnTo>
                  <a:lnTo>
                    <a:pt x="2117" y="1991"/>
                  </a:lnTo>
                  <a:lnTo>
                    <a:pt x="2115" y="1984"/>
                  </a:lnTo>
                  <a:lnTo>
                    <a:pt x="2114" y="1977"/>
                  </a:lnTo>
                  <a:lnTo>
                    <a:pt x="2113" y="1968"/>
                  </a:lnTo>
                  <a:lnTo>
                    <a:pt x="2241" y="1968"/>
                  </a:lnTo>
                  <a:lnTo>
                    <a:pt x="2241" y="1968"/>
                  </a:lnTo>
                  <a:lnTo>
                    <a:pt x="2242" y="1949"/>
                  </a:lnTo>
                  <a:lnTo>
                    <a:pt x="2242" y="1949"/>
                  </a:lnTo>
                  <a:lnTo>
                    <a:pt x="2242" y="1935"/>
                  </a:lnTo>
                  <a:lnTo>
                    <a:pt x="2240" y="1921"/>
                  </a:lnTo>
                  <a:lnTo>
                    <a:pt x="2239" y="1908"/>
                  </a:lnTo>
                  <a:lnTo>
                    <a:pt x="2236" y="1895"/>
                  </a:lnTo>
                  <a:lnTo>
                    <a:pt x="2232" y="1884"/>
                  </a:lnTo>
                  <a:lnTo>
                    <a:pt x="2228" y="1873"/>
                  </a:lnTo>
                  <a:lnTo>
                    <a:pt x="2223" y="1863"/>
                  </a:lnTo>
                  <a:lnTo>
                    <a:pt x="2218" y="1855"/>
                  </a:lnTo>
                  <a:lnTo>
                    <a:pt x="2212" y="1846"/>
                  </a:lnTo>
                  <a:lnTo>
                    <a:pt x="2205" y="1840"/>
                  </a:lnTo>
                  <a:lnTo>
                    <a:pt x="2198" y="1834"/>
                  </a:lnTo>
                  <a:lnTo>
                    <a:pt x="2190" y="1829"/>
                  </a:lnTo>
                  <a:lnTo>
                    <a:pt x="2181" y="1825"/>
                  </a:lnTo>
                  <a:lnTo>
                    <a:pt x="2173" y="1822"/>
                  </a:lnTo>
                  <a:lnTo>
                    <a:pt x="2164" y="1820"/>
                  </a:lnTo>
                  <a:lnTo>
                    <a:pt x="2153" y="1819"/>
                  </a:lnTo>
                  <a:lnTo>
                    <a:pt x="2153" y="1819"/>
                  </a:lnTo>
                  <a:lnTo>
                    <a:pt x="2144" y="1820"/>
                  </a:lnTo>
                  <a:lnTo>
                    <a:pt x="2135" y="1822"/>
                  </a:lnTo>
                  <a:lnTo>
                    <a:pt x="2125" y="1825"/>
                  </a:lnTo>
                  <a:lnTo>
                    <a:pt x="2116" y="1829"/>
                  </a:lnTo>
                  <a:lnTo>
                    <a:pt x="2108" y="1834"/>
                  </a:lnTo>
                  <a:lnTo>
                    <a:pt x="2100" y="1841"/>
                  </a:lnTo>
                  <a:lnTo>
                    <a:pt x="2093" y="1847"/>
                  </a:lnTo>
                  <a:lnTo>
                    <a:pt x="2087" y="1856"/>
                  </a:lnTo>
                  <a:lnTo>
                    <a:pt x="2080" y="1865"/>
                  </a:lnTo>
                  <a:lnTo>
                    <a:pt x="2075" y="1875"/>
                  </a:lnTo>
                  <a:lnTo>
                    <a:pt x="2071" y="1886"/>
                  </a:lnTo>
                  <a:lnTo>
                    <a:pt x="2067" y="1897"/>
                  </a:lnTo>
                  <a:lnTo>
                    <a:pt x="2064" y="1909"/>
                  </a:lnTo>
                  <a:lnTo>
                    <a:pt x="2062" y="1922"/>
                  </a:lnTo>
                  <a:lnTo>
                    <a:pt x="2061" y="1935"/>
                  </a:lnTo>
                  <a:lnTo>
                    <a:pt x="2060" y="1949"/>
                  </a:lnTo>
                  <a:lnTo>
                    <a:pt x="2060" y="1949"/>
                  </a:lnTo>
                  <a:lnTo>
                    <a:pt x="2061" y="1963"/>
                  </a:lnTo>
                  <a:lnTo>
                    <a:pt x="2062" y="1977"/>
                  </a:lnTo>
                  <a:lnTo>
                    <a:pt x="2064" y="1990"/>
                  </a:lnTo>
                  <a:lnTo>
                    <a:pt x="2067" y="2002"/>
                  </a:lnTo>
                  <a:lnTo>
                    <a:pt x="2071" y="2013"/>
                  </a:lnTo>
                  <a:lnTo>
                    <a:pt x="2075" y="2024"/>
                  </a:lnTo>
                  <a:lnTo>
                    <a:pt x="2080" y="2034"/>
                  </a:lnTo>
                  <a:lnTo>
                    <a:pt x="2087" y="2043"/>
                  </a:lnTo>
                  <a:lnTo>
                    <a:pt x="2094" y="2050"/>
                  </a:lnTo>
                  <a:lnTo>
                    <a:pt x="2101" y="2058"/>
                  </a:lnTo>
                  <a:lnTo>
                    <a:pt x="2110" y="2064"/>
                  </a:lnTo>
                  <a:lnTo>
                    <a:pt x="2118" y="2069"/>
                  </a:lnTo>
                  <a:lnTo>
                    <a:pt x="2127" y="2072"/>
                  </a:lnTo>
                  <a:lnTo>
                    <a:pt x="2138" y="2076"/>
                  </a:lnTo>
                  <a:lnTo>
                    <a:pt x="2148" y="2077"/>
                  </a:lnTo>
                  <a:lnTo>
                    <a:pt x="2160" y="2079"/>
                  </a:lnTo>
                  <a:lnTo>
                    <a:pt x="2160" y="2079"/>
                  </a:lnTo>
                  <a:lnTo>
                    <a:pt x="2170" y="2077"/>
                  </a:lnTo>
                  <a:lnTo>
                    <a:pt x="2179" y="2076"/>
                  </a:lnTo>
                  <a:lnTo>
                    <a:pt x="2190" y="2072"/>
                  </a:lnTo>
                  <a:lnTo>
                    <a:pt x="2199" y="2069"/>
                  </a:lnTo>
                  <a:lnTo>
                    <a:pt x="2208" y="2063"/>
                  </a:lnTo>
                  <a:lnTo>
                    <a:pt x="2217" y="2056"/>
                  </a:lnTo>
                  <a:lnTo>
                    <a:pt x="2225" y="2048"/>
                  </a:lnTo>
                  <a:lnTo>
                    <a:pt x="2233" y="2039"/>
                  </a:lnTo>
                  <a:lnTo>
                    <a:pt x="2200" y="2001"/>
                  </a:lnTo>
                  <a:close/>
                  <a:moveTo>
                    <a:pt x="2114" y="1922"/>
                  </a:moveTo>
                  <a:lnTo>
                    <a:pt x="2114" y="1922"/>
                  </a:lnTo>
                  <a:lnTo>
                    <a:pt x="2115" y="1911"/>
                  </a:lnTo>
                  <a:lnTo>
                    <a:pt x="2117" y="1902"/>
                  </a:lnTo>
                  <a:lnTo>
                    <a:pt x="2120" y="1893"/>
                  </a:lnTo>
                  <a:lnTo>
                    <a:pt x="2125" y="1886"/>
                  </a:lnTo>
                  <a:lnTo>
                    <a:pt x="2130" y="1879"/>
                  </a:lnTo>
                  <a:lnTo>
                    <a:pt x="2137" y="1876"/>
                  </a:lnTo>
                  <a:lnTo>
                    <a:pt x="2144" y="1872"/>
                  </a:lnTo>
                  <a:lnTo>
                    <a:pt x="2152" y="1872"/>
                  </a:lnTo>
                  <a:lnTo>
                    <a:pt x="2152" y="1872"/>
                  </a:lnTo>
                  <a:lnTo>
                    <a:pt x="2162" y="1873"/>
                  </a:lnTo>
                  <a:lnTo>
                    <a:pt x="2170" y="1876"/>
                  </a:lnTo>
                  <a:lnTo>
                    <a:pt x="2176" y="1881"/>
                  </a:lnTo>
                  <a:lnTo>
                    <a:pt x="2181" y="1888"/>
                  </a:lnTo>
                  <a:lnTo>
                    <a:pt x="2186" y="1895"/>
                  </a:lnTo>
                  <a:lnTo>
                    <a:pt x="2189" y="1904"/>
                  </a:lnTo>
                  <a:lnTo>
                    <a:pt x="2191" y="1914"/>
                  </a:lnTo>
                  <a:lnTo>
                    <a:pt x="2192" y="1922"/>
                  </a:lnTo>
                  <a:lnTo>
                    <a:pt x="2114" y="1922"/>
                  </a:lnTo>
                  <a:close/>
                  <a:moveTo>
                    <a:pt x="2701" y="2001"/>
                  </a:moveTo>
                  <a:lnTo>
                    <a:pt x="2701" y="2001"/>
                  </a:lnTo>
                  <a:lnTo>
                    <a:pt x="2692" y="2009"/>
                  </a:lnTo>
                  <a:lnTo>
                    <a:pt x="2684" y="2015"/>
                  </a:lnTo>
                  <a:lnTo>
                    <a:pt x="2678" y="2017"/>
                  </a:lnTo>
                  <a:lnTo>
                    <a:pt x="2673" y="2020"/>
                  </a:lnTo>
                  <a:lnTo>
                    <a:pt x="2666" y="2021"/>
                  </a:lnTo>
                  <a:lnTo>
                    <a:pt x="2659" y="2022"/>
                  </a:lnTo>
                  <a:lnTo>
                    <a:pt x="2659" y="2022"/>
                  </a:lnTo>
                  <a:lnTo>
                    <a:pt x="2654" y="2021"/>
                  </a:lnTo>
                  <a:lnTo>
                    <a:pt x="2648" y="2021"/>
                  </a:lnTo>
                  <a:lnTo>
                    <a:pt x="2640" y="2018"/>
                  </a:lnTo>
                  <a:lnTo>
                    <a:pt x="2633" y="2013"/>
                  </a:lnTo>
                  <a:lnTo>
                    <a:pt x="2626" y="2007"/>
                  </a:lnTo>
                  <a:lnTo>
                    <a:pt x="2623" y="2002"/>
                  </a:lnTo>
                  <a:lnTo>
                    <a:pt x="2620" y="1997"/>
                  </a:lnTo>
                  <a:lnTo>
                    <a:pt x="2617" y="1991"/>
                  </a:lnTo>
                  <a:lnTo>
                    <a:pt x="2615" y="1984"/>
                  </a:lnTo>
                  <a:lnTo>
                    <a:pt x="2613" y="1977"/>
                  </a:lnTo>
                  <a:lnTo>
                    <a:pt x="2612" y="1968"/>
                  </a:lnTo>
                  <a:lnTo>
                    <a:pt x="2741" y="1968"/>
                  </a:lnTo>
                  <a:lnTo>
                    <a:pt x="2741" y="1968"/>
                  </a:lnTo>
                  <a:lnTo>
                    <a:pt x="2742" y="1949"/>
                  </a:lnTo>
                  <a:lnTo>
                    <a:pt x="2742" y="1949"/>
                  </a:lnTo>
                  <a:lnTo>
                    <a:pt x="2741" y="1935"/>
                  </a:lnTo>
                  <a:lnTo>
                    <a:pt x="2740" y="1921"/>
                  </a:lnTo>
                  <a:lnTo>
                    <a:pt x="2738" y="1908"/>
                  </a:lnTo>
                  <a:lnTo>
                    <a:pt x="2736" y="1895"/>
                  </a:lnTo>
                  <a:lnTo>
                    <a:pt x="2732" y="1884"/>
                  </a:lnTo>
                  <a:lnTo>
                    <a:pt x="2728" y="1873"/>
                  </a:lnTo>
                  <a:lnTo>
                    <a:pt x="2724" y="1863"/>
                  </a:lnTo>
                  <a:lnTo>
                    <a:pt x="2718" y="1855"/>
                  </a:lnTo>
                  <a:lnTo>
                    <a:pt x="2712" y="1846"/>
                  </a:lnTo>
                  <a:lnTo>
                    <a:pt x="2705" y="1840"/>
                  </a:lnTo>
                  <a:lnTo>
                    <a:pt x="2698" y="1834"/>
                  </a:lnTo>
                  <a:lnTo>
                    <a:pt x="2690" y="1829"/>
                  </a:lnTo>
                  <a:lnTo>
                    <a:pt x="2682" y="1825"/>
                  </a:lnTo>
                  <a:lnTo>
                    <a:pt x="2673" y="1822"/>
                  </a:lnTo>
                  <a:lnTo>
                    <a:pt x="2663" y="1820"/>
                  </a:lnTo>
                  <a:lnTo>
                    <a:pt x="2654" y="1819"/>
                  </a:lnTo>
                  <a:lnTo>
                    <a:pt x="2654" y="1819"/>
                  </a:lnTo>
                  <a:lnTo>
                    <a:pt x="2643" y="1820"/>
                  </a:lnTo>
                  <a:lnTo>
                    <a:pt x="2634" y="1822"/>
                  </a:lnTo>
                  <a:lnTo>
                    <a:pt x="2625" y="1825"/>
                  </a:lnTo>
                  <a:lnTo>
                    <a:pt x="2616" y="1829"/>
                  </a:lnTo>
                  <a:lnTo>
                    <a:pt x="2608" y="1834"/>
                  </a:lnTo>
                  <a:lnTo>
                    <a:pt x="2600" y="1841"/>
                  </a:lnTo>
                  <a:lnTo>
                    <a:pt x="2594" y="1847"/>
                  </a:lnTo>
                  <a:lnTo>
                    <a:pt x="2586" y="1856"/>
                  </a:lnTo>
                  <a:lnTo>
                    <a:pt x="2580" y="1865"/>
                  </a:lnTo>
                  <a:lnTo>
                    <a:pt x="2575" y="1875"/>
                  </a:lnTo>
                  <a:lnTo>
                    <a:pt x="2571" y="1886"/>
                  </a:lnTo>
                  <a:lnTo>
                    <a:pt x="2566" y="1897"/>
                  </a:lnTo>
                  <a:lnTo>
                    <a:pt x="2564" y="1909"/>
                  </a:lnTo>
                  <a:lnTo>
                    <a:pt x="2561" y="1922"/>
                  </a:lnTo>
                  <a:lnTo>
                    <a:pt x="2560" y="1935"/>
                  </a:lnTo>
                  <a:lnTo>
                    <a:pt x="2560" y="1949"/>
                  </a:lnTo>
                  <a:lnTo>
                    <a:pt x="2560" y="1949"/>
                  </a:lnTo>
                  <a:lnTo>
                    <a:pt x="2560" y="1963"/>
                  </a:lnTo>
                  <a:lnTo>
                    <a:pt x="2561" y="1977"/>
                  </a:lnTo>
                  <a:lnTo>
                    <a:pt x="2563" y="1990"/>
                  </a:lnTo>
                  <a:lnTo>
                    <a:pt x="2566" y="2002"/>
                  </a:lnTo>
                  <a:lnTo>
                    <a:pt x="2571" y="2013"/>
                  </a:lnTo>
                  <a:lnTo>
                    <a:pt x="2576" y="2024"/>
                  </a:lnTo>
                  <a:lnTo>
                    <a:pt x="2581" y="2034"/>
                  </a:lnTo>
                  <a:lnTo>
                    <a:pt x="2587" y="2043"/>
                  </a:lnTo>
                  <a:lnTo>
                    <a:pt x="2594" y="2050"/>
                  </a:lnTo>
                  <a:lnTo>
                    <a:pt x="2601" y="2058"/>
                  </a:lnTo>
                  <a:lnTo>
                    <a:pt x="2609" y="2064"/>
                  </a:lnTo>
                  <a:lnTo>
                    <a:pt x="2619" y="2069"/>
                  </a:lnTo>
                  <a:lnTo>
                    <a:pt x="2628" y="2072"/>
                  </a:lnTo>
                  <a:lnTo>
                    <a:pt x="2637" y="2076"/>
                  </a:lnTo>
                  <a:lnTo>
                    <a:pt x="2649" y="2077"/>
                  </a:lnTo>
                  <a:lnTo>
                    <a:pt x="2659" y="2079"/>
                  </a:lnTo>
                  <a:lnTo>
                    <a:pt x="2659" y="2079"/>
                  </a:lnTo>
                  <a:lnTo>
                    <a:pt x="2670" y="2077"/>
                  </a:lnTo>
                  <a:lnTo>
                    <a:pt x="2680" y="2076"/>
                  </a:lnTo>
                  <a:lnTo>
                    <a:pt x="2689" y="2072"/>
                  </a:lnTo>
                  <a:lnTo>
                    <a:pt x="2699" y="2069"/>
                  </a:lnTo>
                  <a:lnTo>
                    <a:pt x="2708" y="2063"/>
                  </a:lnTo>
                  <a:lnTo>
                    <a:pt x="2717" y="2056"/>
                  </a:lnTo>
                  <a:lnTo>
                    <a:pt x="2726" y="2048"/>
                  </a:lnTo>
                  <a:lnTo>
                    <a:pt x="2733" y="2039"/>
                  </a:lnTo>
                  <a:lnTo>
                    <a:pt x="2701" y="2001"/>
                  </a:lnTo>
                  <a:close/>
                  <a:moveTo>
                    <a:pt x="2613" y="1922"/>
                  </a:moveTo>
                  <a:lnTo>
                    <a:pt x="2613" y="1922"/>
                  </a:lnTo>
                  <a:lnTo>
                    <a:pt x="2614" y="1911"/>
                  </a:lnTo>
                  <a:lnTo>
                    <a:pt x="2617" y="1902"/>
                  </a:lnTo>
                  <a:lnTo>
                    <a:pt x="2621" y="1893"/>
                  </a:lnTo>
                  <a:lnTo>
                    <a:pt x="2625" y="1886"/>
                  </a:lnTo>
                  <a:lnTo>
                    <a:pt x="2631" y="1879"/>
                  </a:lnTo>
                  <a:lnTo>
                    <a:pt x="2637" y="1876"/>
                  </a:lnTo>
                  <a:lnTo>
                    <a:pt x="2645" y="1872"/>
                  </a:lnTo>
                  <a:lnTo>
                    <a:pt x="2653" y="1872"/>
                  </a:lnTo>
                  <a:lnTo>
                    <a:pt x="2653" y="1872"/>
                  </a:lnTo>
                  <a:lnTo>
                    <a:pt x="2662" y="1873"/>
                  </a:lnTo>
                  <a:lnTo>
                    <a:pt x="2670" y="1876"/>
                  </a:lnTo>
                  <a:lnTo>
                    <a:pt x="2677" y="1881"/>
                  </a:lnTo>
                  <a:lnTo>
                    <a:pt x="2682" y="1888"/>
                  </a:lnTo>
                  <a:lnTo>
                    <a:pt x="2686" y="1895"/>
                  </a:lnTo>
                  <a:lnTo>
                    <a:pt x="2689" y="1904"/>
                  </a:lnTo>
                  <a:lnTo>
                    <a:pt x="2691" y="1914"/>
                  </a:lnTo>
                  <a:lnTo>
                    <a:pt x="2692" y="1922"/>
                  </a:lnTo>
                  <a:lnTo>
                    <a:pt x="2613" y="1922"/>
                  </a:lnTo>
                  <a:close/>
                  <a:moveTo>
                    <a:pt x="2488" y="1986"/>
                  </a:moveTo>
                  <a:lnTo>
                    <a:pt x="2488" y="1986"/>
                  </a:lnTo>
                  <a:lnTo>
                    <a:pt x="2488" y="1995"/>
                  </a:lnTo>
                  <a:lnTo>
                    <a:pt x="2489" y="2001"/>
                  </a:lnTo>
                  <a:lnTo>
                    <a:pt x="2492" y="2007"/>
                  </a:lnTo>
                  <a:lnTo>
                    <a:pt x="2494" y="2012"/>
                  </a:lnTo>
                  <a:lnTo>
                    <a:pt x="2497" y="2016"/>
                  </a:lnTo>
                  <a:lnTo>
                    <a:pt x="2501" y="2018"/>
                  </a:lnTo>
                  <a:lnTo>
                    <a:pt x="2505" y="2020"/>
                  </a:lnTo>
                  <a:lnTo>
                    <a:pt x="2511" y="2020"/>
                  </a:lnTo>
                  <a:lnTo>
                    <a:pt x="2511" y="2020"/>
                  </a:lnTo>
                  <a:lnTo>
                    <a:pt x="2519" y="2020"/>
                  </a:lnTo>
                  <a:lnTo>
                    <a:pt x="2527" y="2017"/>
                  </a:lnTo>
                  <a:lnTo>
                    <a:pt x="2535" y="2013"/>
                  </a:lnTo>
                  <a:lnTo>
                    <a:pt x="2543" y="2009"/>
                  </a:lnTo>
                  <a:lnTo>
                    <a:pt x="2536" y="2066"/>
                  </a:lnTo>
                  <a:lnTo>
                    <a:pt x="2536" y="2066"/>
                  </a:lnTo>
                  <a:lnTo>
                    <a:pt x="2527" y="2071"/>
                  </a:lnTo>
                  <a:lnTo>
                    <a:pt x="2515" y="2075"/>
                  </a:lnTo>
                  <a:lnTo>
                    <a:pt x="2504" y="2077"/>
                  </a:lnTo>
                  <a:lnTo>
                    <a:pt x="2493" y="2079"/>
                  </a:lnTo>
                  <a:lnTo>
                    <a:pt x="2493" y="2079"/>
                  </a:lnTo>
                  <a:lnTo>
                    <a:pt x="2485" y="2077"/>
                  </a:lnTo>
                  <a:lnTo>
                    <a:pt x="2478" y="2076"/>
                  </a:lnTo>
                  <a:lnTo>
                    <a:pt x="2472" y="2074"/>
                  </a:lnTo>
                  <a:lnTo>
                    <a:pt x="2467" y="2071"/>
                  </a:lnTo>
                  <a:lnTo>
                    <a:pt x="2461" y="2068"/>
                  </a:lnTo>
                  <a:lnTo>
                    <a:pt x="2456" y="2064"/>
                  </a:lnTo>
                  <a:lnTo>
                    <a:pt x="2453" y="2059"/>
                  </a:lnTo>
                  <a:lnTo>
                    <a:pt x="2449" y="2053"/>
                  </a:lnTo>
                  <a:lnTo>
                    <a:pt x="2444" y="2042"/>
                  </a:lnTo>
                  <a:lnTo>
                    <a:pt x="2440" y="2028"/>
                  </a:lnTo>
                  <a:lnTo>
                    <a:pt x="2437" y="2016"/>
                  </a:lnTo>
                  <a:lnTo>
                    <a:pt x="2436" y="2002"/>
                  </a:lnTo>
                  <a:lnTo>
                    <a:pt x="2436" y="1882"/>
                  </a:lnTo>
                  <a:lnTo>
                    <a:pt x="2404" y="1882"/>
                  </a:lnTo>
                  <a:lnTo>
                    <a:pt x="2404" y="1825"/>
                  </a:lnTo>
                  <a:lnTo>
                    <a:pt x="2436" y="1825"/>
                  </a:lnTo>
                  <a:lnTo>
                    <a:pt x="2436" y="1761"/>
                  </a:lnTo>
                  <a:lnTo>
                    <a:pt x="2488" y="1731"/>
                  </a:lnTo>
                  <a:lnTo>
                    <a:pt x="2488" y="1825"/>
                  </a:lnTo>
                  <a:lnTo>
                    <a:pt x="2535" y="1825"/>
                  </a:lnTo>
                  <a:lnTo>
                    <a:pt x="2535" y="1882"/>
                  </a:lnTo>
                  <a:lnTo>
                    <a:pt x="2488" y="1882"/>
                  </a:lnTo>
                  <a:lnTo>
                    <a:pt x="2488" y="1986"/>
                  </a:lnTo>
                  <a:close/>
                  <a:moveTo>
                    <a:pt x="2387" y="2066"/>
                  </a:moveTo>
                  <a:lnTo>
                    <a:pt x="2387" y="2066"/>
                  </a:lnTo>
                  <a:lnTo>
                    <a:pt x="2378" y="2071"/>
                  </a:lnTo>
                  <a:lnTo>
                    <a:pt x="2368" y="2075"/>
                  </a:lnTo>
                  <a:lnTo>
                    <a:pt x="2356" y="2077"/>
                  </a:lnTo>
                  <a:lnTo>
                    <a:pt x="2345" y="2079"/>
                  </a:lnTo>
                  <a:lnTo>
                    <a:pt x="2345" y="2079"/>
                  </a:lnTo>
                  <a:lnTo>
                    <a:pt x="2336" y="2077"/>
                  </a:lnTo>
                  <a:lnTo>
                    <a:pt x="2330" y="2076"/>
                  </a:lnTo>
                  <a:lnTo>
                    <a:pt x="2324" y="2074"/>
                  </a:lnTo>
                  <a:lnTo>
                    <a:pt x="2318" y="2071"/>
                  </a:lnTo>
                  <a:lnTo>
                    <a:pt x="2314" y="2068"/>
                  </a:lnTo>
                  <a:lnTo>
                    <a:pt x="2308" y="2064"/>
                  </a:lnTo>
                  <a:lnTo>
                    <a:pt x="2304" y="2059"/>
                  </a:lnTo>
                  <a:lnTo>
                    <a:pt x="2301" y="2053"/>
                  </a:lnTo>
                  <a:lnTo>
                    <a:pt x="2295" y="2042"/>
                  </a:lnTo>
                  <a:lnTo>
                    <a:pt x="2292" y="2028"/>
                  </a:lnTo>
                  <a:lnTo>
                    <a:pt x="2289" y="2016"/>
                  </a:lnTo>
                  <a:lnTo>
                    <a:pt x="2289" y="2002"/>
                  </a:lnTo>
                  <a:lnTo>
                    <a:pt x="2289" y="1882"/>
                  </a:lnTo>
                  <a:lnTo>
                    <a:pt x="2256" y="1882"/>
                  </a:lnTo>
                  <a:lnTo>
                    <a:pt x="2256" y="1825"/>
                  </a:lnTo>
                  <a:lnTo>
                    <a:pt x="2289" y="1825"/>
                  </a:lnTo>
                  <a:lnTo>
                    <a:pt x="2289" y="1761"/>
                  </a:lnTo>
                  <a:lnTo>
                    <a:pt x="2341" y="1731"/>
                  </a:lnTo>
                  <a:lnTo>
                    <a:pt x="2341" y="1825"/>
                  </a:lnTo>
                  <a:lnTo>
                    <a:pt x="2384" y="1825"/>
                  </a:lnTo>
                  <a:lnTo>
                    <a:pt x="2384" y="1882"/>
                  </a:lnTo>
                  <a:lnTo>
                    <a:pt x="2341" y="1882"/>
                  </a:lnTo>
                  <a:lnTo>
                    <a:pt x="2341" y="1986"/>
                  </a:lnTo>
                  <a:lnTo>
                    <a:pt x="2341" y="1986"/>
                  </a:lnTo>
                  <a:lnTo>
                    <a:pt x="2341" y="1995"/>
                  </a:lnTo>
                  <a:lnTo>
                    <a:pt x="2342" y="2001"/>
                  </a:lnTo>
                  <a:lnTo>
                    <a:pt x="2344" y="2007"/>
                  </a:lnTo>
                  <a:lnTo>
                    <a:pt x="2346" y="2012"/>
                  </a:lnTo>
                  <a:lnTo>
                    <a:pt x="2349" y="2016"/>
                  </a:lnTo>
                  <a:lnTo>
                    <a:pt x="2353" y="2018"/>
                  </a:lnTo>
                  <a:lnTo>
                    <a:pt x="2357" y="2020"/>
                  </a:lnTo>
                  <a:lnTo>
                    <a:pt x="2362" y="2020"/>
                  </a:lnTo>
                  <a:lnTo>
                    <a:pt x="2362" y="2020"/>
                  </a:lnTo>
                  <a:lnTo>
                    <a:pt x="2371" y="2020"/>
                  </a:lnTo>
                  <a:lnTo>
                    <a:pt x="2379" y="2017"/>
                  </a:lnTo>
                  <a:lnTo>
                    <a:pt x="2386" y="2013"/>
                  </a:lnTo>
                  <a:lnTo>
                    <a:pt x="2394" y="2009"/>
                  </a:lnTo>
                  <a:lnTo>
                    <a:pt x="2387" y="2066"/>
                  </a:lnTo>
                  <a:close/>
                  <a:moveTo>
                    <a:pt x="2898" y="1894"/>
                  </a:moveTo>
                  <a:lnTo>
                    <a:pt x="2898" y="1894"/>
                  </a:lnTo>
                  <a:lnTo>
                    <a:pt x="2891" y="1888"/>
                  </a:lnTo>
                  <a:lnTo>
                    <a:pt x="2883" y="1884"/>
                  </a:lnTo>
                  <a:lnTo>
                    <a:pt x="2873" y="1882"/>
                  </a:lnTo>
                  <a:lnTo>
                    <a:pt x="2864" y="1881"/>
                  </a:lnTo>
                  <a:lnTo>
                    <a:pt x="2864" y="1881"/>
                  </a:lnTo>
                  <a:lnTo>
                    <a:pt x="2856" y="1882"/>
                  </a:lnTo>
                  <a:lnTo>
                    <a:pt x="2847" y="1884"/>
                  </a:lnTo>
                  <a:lnTo>
                    <a:pt x="2841" y="1889"/>
                  </a:lnTo>
                  <a:lnTo>
                    <a:pt x="2836" y="1895"/>
                  </a:lnTo>
                  <a:lnTo>
                    <a:pt x="2832" y="1903"/>
                  </a:lnTo>
                  <a:lnTo>
                    <a:pt x="2830" y="1913"/>
                  </a:lnTo>
                  <a:lnTo>
                    <a:pt x="2828" y="1925"/>
                  </a:lnTo>
                  <a:lnTo>
                    <a:pt x="2827" y="1938"/>
                  </a:lnTo>
                  <a:lnTo>
                    <a:pt x="2827" y="2072"/>
                  </a:lnTo>
                  <a:lnTo>
                    <a:pt x="2776" y="2072"/>
                  </a:lnTo>
                  <a:lnTo>
                    <a:pt x="2776" y="1825"/>
                  </a:lnTo>
                  <a:lnTo>
                    <a:pt x="2827" y="1825"/>
                  </a:lnTo>
                  <a:lnTo>
                    <a:pt x="2827" y="1846"/>
                  </a:lnTo>
                  <a:lnTo>
                    <a:pt x="2827" y="1846"/>
                  </a:lnTo>
                  <a:lnTo>
                    <a:pt x="2832" y="1840"/>
                  </a:lnTo>
                  <a:lnTo>
                    <a:pt x="2837" y="1834"/>
                  </a:lnTo>
                  <a:lnTo>
                    <a:pt x="2842" y="1830"/>
                  </a:lnTo>
                  <a:lnTo>
                    <a:pt x="2849" y="1827"/>
                  </a:lnTo>
                  <a:lnTo>
                    <a:pt x="2854" y="1823"/>
                  </a:lnTo>
                  <a:lnTo>
                    <a:pt x="2860" y="1822"/>
                  </a:lnTo>
                  <a:lnTo>
                    <a:pt x="2866" y="1820"/>
                  </a:lnTo>
                  <a:lnTo>
                    <a:pt x="2873" y="1819"/>
                  </a:lnTo>
                  <a:lnTo>
                    <a:pt x="2873" y="1819"/>
                  </a:lnTo>
                  <a:lnTo>
                    <a:pt x="2884" y="1820"/>
                  </a:lnTo>
                  <a:lnTo>
                    <a:pt x="2894" y="1824"/>
                  </a:lnTo>
                  <a:lnTo>
                    <a:pt x="2904" y="1828"/>
                  </a:lnTo>
                  <a:lnTo>
                    <a:pt x="2912" y="1834"/>
                  </a:lnTo>
                  <a:lnTo>
                    <a:pt x="2898" y="1894"/>
                  </a:lnTo>
                  <a:close/>
                  <a:moveTo>
                    <a:pt x="559" y="1766"/>
                  </a:moveTo>
                  <a:lnTo>
                    <a:pt x="559" y="1790"/>
                  </a:lnTo>
                  <a:lnTo>
                    <a:pt x="507" y="1790"/>
                  </a:lnTo>
                  <a:lnTo>
                    <a:pt x="507" y="1728"/>
                  </a:lnTo>
                  <a:lnTo>
                    <a:pt x="559" y="1728"/>
                  </a:lnTo>
                  <a:lnTo>
                    <a:pt x="559" y="1766"/>
                  </a:lnTo>
                  <a:close/>
                  <a:moveTo>
                    <a:pt x="919" y="1825"/>
                  </a:moveTo>
                  <a:lnTo>
                    <a:pt x="971" y="1825"/>
                  </a:lnTo>
                  <a:lnTo>
                    <a:pt x="971" y="1952"/>
                  </a:lnTo>
                  <a:lnTo>
                    <a:pt x="971" y="2072"/>
                  </a:lnTo>
                  <a:lnTo>
                    <a:pt x="919" y="2072"/>
                  </a:lnTo>
                  <a:lnTo>
                    <a:pt x="919" y="1825"/>
                  </a:lnTo>
                  <a:close/>
                  <a:moveTo>
                    <a:pt x="971" y="1759"/>
                  </a:moveTo>
                  <a:lnTo>
                    <a:pt x="971" y="1790"/>
                  </a:lnTo>
                  <a:lnTo>
                    <a:pt x="919" y="1790"/>
                  </a:lnTo>
                  <a:lnTo>
                    <a:pt x="919" y="1728"/>
                  </a:lnTo>
                  <a:lnTo>
                    <a:pt x="971" y="1728"/>
                  </a:lnTo>
                  <a:lnTo>
                    <a:pt x="971" y="1759"/>
                  </a:lnTo>
                  <a:close/>
                  <a:moveTo>
                    <a:pt x="2395" y="2275"/>
                  </a:moveTo>
                  <a:lnTo>
                    <a:pt x="2395" y="2275"/>
                  </a:lnTo>
                  <a:lnTo>
                    <a:pt x="2390" y="2270"/>
                  </a:lnTo>
                  <a:lnTo>
                    <a:pt x="2384" y="2265"/>
                  </a:lnTo>
                  <a:lnTo>
                    <a:pt x="2379" y="2262"/>
                  </a:lnTo>
                  <a:lnTo>
                    <a:pt x="2373" y="2258"/>
                  </a:lnTo>
                  <a:lnTo>
                    <a:pt x="2368" y="2256"/>
                  </a:lnTo>
                  <a:lnTo>
                    <a:pt x="2361" y="2254"/>
                  </a:lnTo>
                  <a:lnTo>
                    <a:pt x="2348" y="2252"/>
                  </a:lnTo>
                  <a:lnTo>
                    <a:pt x="2348" y="2252"/>
                  </a:lnTo>
                  <a:lnTo>
                    <a:pt x="2339" y="2253"/>
                  </a:lnTo>
                  <a:lnTo>
                    <a:pt x="2330" y="2254"/>
                  </a:lnTo>
                  <a:lnTo>
                    <a:pt x="2322" y="2258"/>
                  </a:lnTo>
                  <a:lnTo>
                    <a:pt x="2314" y="2262"/>
                  </a:lnTo>
                  <a:lnTo>
                    <a:pt x="2306" y="2267"/>
                  </a:lnTo>
                  <a:lnTo>
                    <a:pt x="2300" y="2272"/>
                  </a:lnTo>
                  <a:lnTo>
                    <a:pt x="2294" y="2279"/>
                  </a:lnTo>
                  <a:lnTo>
                    <a:pt x="2288" y="2286"/>
                  </a:lnTo>
                  <a:lnTo>
                    <a:pt x="2283" y="2295"/>
                  </a:lnTo>
                  <a:lnTo>
                    <a:pt x="2278" y="2305"/>
                  </a:lnTo>
                  <a:lnTo>
                    <a:pt x="2275" y="2315"/>
                  </a:lnTo>
                  <a:lnTo>
                    <a:pt x="2272" y="2327"/>
                  </a:lnTo>
                  <a:lnTo>
                    <a:pt x="2269" y="2338"/>
                  </a:lnTo>
                  <a:lnTo>
                    <a:pt x="2268" y="2352"/>
                  </a:lnTo>
                  <a:lnTo>
                    <a:pt x="2267" y="2365"/>
                  </a:lnTo>
                  <a:lnTo>
                    <a:pt x="2266" y="2380"/>
                  </a:lnTo>
                  <a:lnTo>
                    <a:pt x="2266" y="2380"/>
                  </a:lnTo>
                  <a:lnTo>
                    <a:pt x="2267" y="2395"/>
                  </a:lnTo>
                  <a:lnTo>
                    <a:pt x="2268" y="2408"/>
                  </a:lnTo>
                  <a:lnTo>
                    <a:pt x="2269" y="2422"/>
                  </a:lnTo>
                  <a:lnTo>
                    <a:pt x="2272" y="2435"/>
                  </a:lnTo>
                  <a:lnTo>
                    <a:pt x="2274" y="2446"/>
                  </a:lnTo>
                  <a:lnTo>
                    <a:pt x="2278" y="2457"/>
                  </a:lnTo>
                  <a:lnTo>
                    <a:pt x="2282" y="2467"/>
                  </a:lnTo>
                  <a:lnTo>
                    <a:pt x="2288" y="2476"/>
                  </a:lnTo>
                  <a:lnTo>
                    <a:pt x="2293" y="2484"/>
                  </a:lnTo>
                  <a:lnTo>
                    <a:pt x="2299" y="2490"/>
                  </a:lnTo>
                  <a:lnTo>
                    <a:pt x="2305" y="2497"/>
                  </a:lnTo>
                  <a:lnTo>
                    <a:pt x="2313" y="2502"/>
                  </a:lnTo>
                  <a:lnTo>
                    <a:pt x="2321" y="2506"/>
                  </a:lnTo>
                  <a:lnTo>
                    <a:pt x="2329" y="2509"/>
                  </a:lnTo>
                  <a:lnTo>
                    <a:pt x="2338" y="2510"/>
                  </a:lnTo>
                  <a:lnTo>
                    <a:pt x="2347" y="2511"/>
                  </a:lnTo>
                  <a:lnTo>
                    <a:pt x="2347" y="2511"/>
                  </a:lnTo>
                  <a:lnTo>
                    <a:pt x="2353" y="2510"/>
                  </a:lnTo>
                  <a:lnTo>
                    <a:pt x="2360" y="2509"/>
                  </a:lnTo>
                  <a:lnTo>
                    <a:pt x="2367" y="2508"/>
                  </a:lnTo>
                  <a:lnTo>
                    <a:pt x="2372" y="2505"/>
                  </a:lnTo>
                  <a:lnTo>
                    <a:pt x="2378" y="2502"/>
                  </a:lnTo>
                  <a:lnTo>
                    <a:pt x="2384" y="2498"/>
                  </a:lnTo>
                  <a:lnTo>
                    <a:pt x="2390" y="2493"/>
                  </a:lnTo>
                  <a:lnTo>
                    <a:pt x="2395" y="2487"/>
                  </a:lnTo>
                  <a:lnTo>
                    <a:pt x="2395" y="2505"/>
                  </a:lnTo>
                  <a:lnTo>
                    <a:pt x="2447" y="2505"/>
                  </a:lnTo>
                  <a:lnTo>
                    <a:pt x="2447" y="2155"/>
                  </a:lnTo>
                  <a:lnTo>
                    <a:pt x="2395" y="2186"/>
                  </a:lnTo>
                  <a:lnTo>
                    <a:pt x="2395" y="2275"/>
                  </a:lnTo>
                  <a:close/>
                  <a:moveTo>
                    <a:pt x="2358" y="2455"/>
                  </a:moveTo>
                  <a:lnTo>
                    <a:pt x="2358" y="2455"/>
                  </a:lnTo>
                  <a:lnTo>
                    <a:pt x="2351" y="2454"/>
                  </a:lnTo>
                  <a:lnTo>
                    <a:pt x="2345" y="2451"/>
                  </a:lnTo>
                  <a:lnTo>
                    <a:pt x="2338" y="2447"/>
                  </a:lnTo>
                  <a:lnTo>
                    <a:pt x="2331" y="2440"/>
                  </a:lnTo>
                  <a:lnTo>
                    <a:pt x="2326" y="2430"/>
                  </a:lnTo>
                  <a:lnTo>
                    <a:pt x="2322" y="2417"/>
                  </a:lnTo>
                  <a:lnTo>
                    <a:pt x="2320" y="2399"/>
                  </a:lnTo>
                  <a:lnTo>
                    <a:pt x="2319" y="2377"/>
                  </a:lnTo>
                  <a:lnTo>
                    <a:pt x="2319" y="2377"/>
                  </a:lnTo>
                  <a:lnTo>
                    <a:pt x="2320" y="2359"/>
                  </a:lnTo>
                  <a:lnTo>
                    <a:pt x="2322" y="2343"/>
                  </a:lnTo>
                  <a:lnTo>
                    <a:pt x="2326" y="2331"/>
                  </a:lnTo>
                  <a:lnTo>
                    <a:pt x="2331" y="2322"/>
                  </a:lnTo>
                  <a:lnTo>
                    <a:pt x="2338" y="2316"/>
                  </a:lnTo>
                  <a:lnTo>
                    <a:pt x="2344" y="2311"/>
                  </a:lnTo>
                  <a:lnTo>
                    <a:pt x="2351" y="2310"/>
                  </a:lnTo>
                  <a:lnTo>
                    <a:pt x="2357" y="2308"/>
                  </a:lnTo>
                  <a:lnTo>
                    <a:pt x="2357" y="2308"/>
                  </a:lnTo>
                  <a:lnTo>
                    <a:pt x="2365" y="2310"/>
                  </a:lnTo>
                  <a:lnTo>
                    <a:pt x="2371" y="2311"/>
                  </a:lnTo>
                  <a:lnTo>
                    <a:pt x="2376" y="2313"/>
                  </a:lnTo>
                  <a:lnTo>
                    <a:pt x="2381" y="2317"/>
                  </a:lnTo>
                  <a:lnTo>
                    <a:pt x="2385" y="2321"/>
                  </a:lnTo>
                  <a:lnTo>
                    <a:pt x="2390" y="2324"/>
                  </a:lnTo>
                  <a:lnTo>
                    <a:pt x="2395" y="2333"/>
                  </a:lnTo>
                  <a:lnTo>
                    <a:pt x="2395" y="2430"/>
                  </a:lnTo>
                  <a:lnTo>
                    <a:pt x="2395" y="2430"/>
                  </a:lnTo>
                  <a:lnTo>
                    <a:pt x="2389" y="2439"/>
                  </a:lnTo>
                  <a:lnTo>
                    <a:pt x="2381" y="2446"/>
                  </a:lnTo>
                  <a:lnTo>
                    <a:pt x="2376" y="2450"/>
                  </a:lnTo>
                  <a:lnTo>
                    <a:pt x="2371" y="2452"/>
                  </a:lnTo>
                  <a:lnTo>
                    <a:pt x="2365" y="2454"/>
                  </a:lnTo>
                  <a:lnTo>
                    <a:pt x="2358" y="2455"/>
                  </a:lnTo>
                  <a:lnTo>
                    <a:pt x="2358" y="2455"/>
                  </a:lnTo>
                  <a:close/>
                  <a:moveTo>
                    <a:pt x="634" y="2327"/>
                  </a:moveTo>
                  <a:lnTo>
                    <a:pt x="634" y="2327"/>
                  </a:lnTo>
                  <a:lnTo>
                    <a:pt x="627" y="2322"/>
                  </a:lnTo>
                  <a:lnTo>
                    <a:pt x="618" y="2317"/>
                  </a:lnTo>
                  <a:lnTo>
                    <a:pt x="609" y="2315"/>
                  </a:lnTo>
                  <a:lnTo>
                    <a:pt x="599" y="2313"/>
                  </a:lnTo>
                  <a:lnTo>
                    <a:pt x="599" y="2313"/>
                  </a:lnTo>
                  <a:lnTo>
                    <a:pt x="591" y="2315"/>
                  </a:lnTo>
                  <a:lnTo>
                    <a:pt x="583" y="2317"/>
                  </a:lnTo>
                  <a:lnTo>
                    <a:pt x="577" y="2322"/>
                  </a:lnTo>
                  <a:lnTo>
                    <a:pt x="571" y="2328"/>
                  </a:lnTo>
                  <a:lnTo>
                    <a:pt x="567" y="2336"/>
                  </a:lnTo>
                  <a:lnTo>
                    <a:pt x="565" y="2345"/>
                  </a:lnTo>
                  <a:lnTo>
                    <a:pt x="563" y="2358"/>
                  </a:lnTo>
                  <a:lnTo>
                    <a:pt x="562" y="2371"/>
                  </a:lnTo>
                  <a:lnTo>
                    <a:pt x="562" y="2505"/>
                  </a:lnTo>
                  <a:lnTo>
                    <a:pt x="511" y="2505"/>
                  </a:lnTo>
                  <a:lnTo>
                    <a:pt x="511" y="2258"/>
                  </a:lnTo>
                  <a:lnTo>
                    <a:pt x="562" y="2258"/>
                  </a:lnTo>
                  <a:lnTo>
                    <a:pt x="562" y="2279"/>
                  </a:lnTo>
                  <a:lnTo>
                    <a:pt x="562" y="2279"/>
                  </a:lnTo>
                  <a:lnTo>
                    <a:pt x="567" y="2273"/>
                  </a:lnTo>
                  <a:lnTo>
                    <a:pt x="572" y="2267"/>
                  </a:lnTo>
                  <a:lnTo>
                    <a:pt x="578" y="2263"/>
                  </a:lnTo>
                  <a:lnTo>
                    <a:pt x="584" y="2259"/>
                  </a:lnTo>
                  <a:lnTo>
                    <a:pt x="589" y="2256"/>
                  </a:lnTo>
                  <a:lnTo>
                    <a:pt x="595" y="2254"/>
                  </a:lnTo>
                  <a:lnTo>
                    <a:pt x="603" y="2253"/>
                  </a:lnTo>
                  <a:lnTo>
                    <a:pt x="609" y="2252"/>
                  </a:lnTo>
                  <a:lnTo>
                    <a:pt x="609" y="2252"/>
                  </a:lnTo>
                  <a:lnTo>
                    <a:pt x="619" y="2253"/>
                  </a:lnTo>
                  <a:lnTo>
                    <a:pt x="630" y="2257"/>
                  </a:lnTo>
                  <a:lnTo>
                    <a:pt x="640" y="2262"/>
                  </a:lnTo>
                  <a:lnTo>
                    <a:pt x="648" y="2268"/>
                  </a:lnTo>
                  <a:lnTo>
                    <a:pt x="634" y="2327"/>
                  </a:lnTo>
                  <a:close/>
                  <a:moveTo>
                    <a:pt x="227" y="2258"/>
                  </a:moveTo>
                  <a:lnTo>
                    <a:pt x="278" y="2258"/>
                  </a:lnTo>
                  <a:lnTo>
                    <a:pt x="219" y="2505"/>
                  </a:lnTo>
                  <a:lnTo>
                    <a:pt x="174" y="2505"/>
                  </a:lnTo>
                  <a:lnTo>
                    <a:pt x="151" y="2403"/>
                  </a:lnTo>
                  <a:lnTo>
                    <a:pt x="151" y="2403"/>
                  </a:lnTo>
                  <a:lnTo>
                    <a:pt x="139" y="2349"/>
                  </a:lnTo>
                  <a:lnTo>
                    <a:pt x="139" y="2349"/>
                  </a:lnTo>
                  <a:lnTo>
                    <a:pt x="134" y="2375"/>
                  </a:lnTo>
                  <a:lnTo>
                    <a:pt x="128" y="2404"/>
                  </a:lnTo>
                  <a:lnTo>
                    <a:pt x="104" y="2505"/>
                  </a:lnTo>
                  <a:lnTo>
                    <a:pt x="59" y="2505"/>
                  </a:lnTo>
                  <a:lnTo>
                    <a:pt x="59" y="2504"/>
                  </a:lnTo>
                  <a:lnTo>
                    <a:pt x="0" y="2258"/>
                  </a:lnTo>
                  <a:lnTo>
                    <a:pt x="54" y="2258"/>
                  </a:lnTo>
                  <a:lnTo>
                    <a:pt x="73" y="2350"/>
                  </a:lnTo>
                  <a:lnTo>
                    <a:pt x="73" y="2350"/>
                  </a:lnTo>
                  <a:lnTo>
                    <a:pt x="78" y="2380"/>
                  </a:lnTo>
                  <a:lnTo>
                    <a:pt x="83" y="2411"/>
                  </a:lnTo>
                  <a:lnTo>
                    <a:pt x="83" y="2411"/>
                  </a:lnTo>
                  <a:lnTo>
                    <a:pt x="90" y="2380"/>
                  </a:lnTo>
                  <a:lnTo>
                    <a:pt x="96" y="2349"/>
                  </a:lnTo>
                  <a:lnTo>
                    <a:pt x="118" y="2258"/>
                  </a:lnTo>
                  <a:lnTo>
                    <a:pt x="162" y="2258"/>
                  </a:lnTo>
                  <a:lnTo>
                    <a:pt x="184" y="2349"/>
                  </a:lnTo>
                  <a:lnTo>
                    <a:pt x="184" y="2349"/>
                  </a:lnTo>
                  <a:lnTo>
                    <a:pt x="190" y="2379"/>
                  </a:lnTo>
                  <a:lnTo>
                    <a:pt x="197" y="2412"/>
                  </a:lnTo>
                  <a:lnTo>
                    <a:pt x="197" y="2412"/>
                  </a:lnTo>
                  <a:lnTo>
                    <a:pt x="201" y="2383"/>
                  </a:lnTo>
                  <a:lnTo>
                    <a:pt x="207" y="2349"/>
                  </a:lnTo>
                  <a:lnTo>
                    <a:pt x="227" y="2258"/>
                  </a:lnTo>
                  <a:close/>
                  <a:moveTo>
                    <a:pt x="383" y="2252"/>
                  </a:moveTo>
                  <a:lnTo>
                    <a:pt x="383" y="2252"/>
                  </a:lnTo>
                  <a:lnTo>
                    <a:pt x="374" y="2253"/>
                  </a:lnTo>
                  <a:lnTo>
                    <a:pt x="363" y="2254"/>
                  </a:lnTo>
                  <a:lnTo>
                    <a:pt x="354" y="2258"/>
                  </a:lnTo>
                  <a:lnTo>
                    <a:pt x="346" y="2262"/>
                  </a:lnTo>
                  <a:lnTo>
                    <a:pt x="337" y="2267"/>
                  </a:lnTo>
                  <a:lnTo>
                    <a:pt x="329" y="2273"/>
                  </a:lnTo>
                  <a:lnTo>
                    <a:pt x="322" y="2280"/>
                  </a:lnTo>
                  <a:lnTo>
                    <a:pt x="315" y="2289"/>
                  </a:lnTo>
                  <a:lnTo>
                    <a:pt x="309" y="2297"/>
                  </a:lnTo>
                  <a:lnTo>
                    <a:pt x="304" y="2307"/>
                  </a:lnTo>
                  <a:lnTo>
                    <a:pt x="299" y="2318"/>
                  </a:lnTo>
                  <a:lnTo>
                    <a:pt x="296" y="2329"/>
                  </a:lnTo>
                  <a:lnTo>
                    <a:pt x="292" y="2342"/>
                  </a:lnTo>
                  <a:lnTo>
                    <a:pt x="290" y="2354"/>
                  </a:lnTo>
                  <a:lnTo>
                    <a:pt x="288" y="2367"/>
                  </a:lnTo>
                  <a:lnTo>
                    <a:pt x="288" y="2382"/>
                  </a:lnTo>
                  <a:lnTo>
                    <a:pt x="288" y="2382"/>
                  </a:lnTo>
                  <a:lnTo>
                    <a:pt x="288" y="2396"/>
                  </a:lnTo>
                  <a:lnTo>
                    <a:pt x="290" y="2409"/>
                  </a:lnTo>
                  <a:lnTo>
                    <a:pt x="292" y="2422"/>
                  </a:lnTo>
                  <a:lnTo>
                    <a:pt x="296" y="2434"/>
                  </a:lnTo>
                  <a:lnTo>
                    <a:pt x="299" y="2445"/>
                  </a:lnTo>
                  <a:lnTo>
                    <a:pt x="304" y="2456"/>
                  </a:lnTo>
                  <a:lnTo>
                    <a:pt x="309" y="2466"/>
                  </a:lnTo>
                  <a:lnTo>
                    <a:pt x="315" y="2474"/>
                  </a:lnTo>
                  <a:lnTo>
                    <a:pt x="322" y="2483"/>
                  </a:lnTo>
                  <a:lnTo>
                    <a:pt x="329" y="2490"/>
                  </a:lnTo>
                  <a:lnTo>
                    <a:pt x="337" y="2497"/>
                  </a:lnTo>
                  <a:lnTo>
                    <a:pt x="346" y="2502"/>
                  </a:lnTo>
                  <a:lnTo>
                    <a:pt x="354" y="2505"/>
                  </a:lnTo>
                  <a:lnTo>
                    <a:pt x="363" y="2509"/>
                  </a:lnTo>
                  <a:lnTo>
                    <a:pt x="374" y="2510"/>
                  </a:lnTo>
                  <a:lnTo>
                    <a:pt x="383" y="2511"/>
                  </a:lnTo>
                  <a:lnTo>
                    <a:pt x="383" y="2511"/>
                  </a:lnTo>
                  <a:lnTo>
                    <a:pt x="393" y="2510"/>
                  </a:lnTo>
                  <a:lnTo>
                    <a:pt x="404" y="2509"/>
                  </a:lnTo>
                  <a:lnTo>
                    <a:pt x="413" y="2505"/>
                  </a:lnTo>
                  <a:lnTo>
                    <a:pt x="422" y="2502"/>
                  </a:lnTo>
                  <a:lnTo>
                    <a:pt x="430" y="2497"/>
                  </a:lnTo>
                  <a:lnTo>
                    <a:pt x="438" y="2490"/>
                  </a:lnTo>
                  <a:lnTo>
                    <a:pt x="445" y="2483"/>
                  </a:lnTo>
                  <a:lnTo>
                    <a:pt x="452" y="2474"/>
                  </a:lnTo>
                  <a:lnTo>
                    <a:pt x="458" y="2466"/>
                  </a:lnTo>
                  <a:lnTo>
                    <a:pt x="463" y="2456"/>
                  </a:lnTo>
                  <a:lnTo>
                    <a:pt x="467" y="2445"/>
                  </a:lnTo>
                  <a:lnTo>
                    <a:pt x="471" y="2434"/>
                  </a:lnTo>
                  <a:lnTo>
                    <a:pt x="475" y="2422"/>
                  </a:lnTo>
                  <a:lnTo>
                    <a:pt x="477" y="2409"/>
                  </a:lnTo>
                  <a:lnTo>
                    <a:pt x="479" y="2396"/>
                  </a:lnTo>
                  <a:lnTo>
                    <a:pt x="479" y="2382"/>
                  </a:lnTo>
                  <a:lnTo>
                    <a:pt x="479" y="2382"/>
                  </a:lnTo>
                  <a:lnTo>
                    <a:pt x="479" y="2367"/>
                  </a:lnTo>
                  <a:lnTo>
                    <a:pt x="477" y="2354"/>
                  </a:lnTo>
                  <a:lnTo>
                    <a:pt x="475" y="2342"/>
                  </a:lnTo>
                  <a:lnTo>
                    <a:pt x="471" y="2329"/>
                  </a:lnTo>
                  <a:lnTo>
                    <a:pt x="467" y="2318"/>
                  </a:lnTo>
                  <a:lnTo>
                    <a:pt x="463" y="2307"/>
                  </a:lnTo>
                  <a:lnTo>
                    <a:pt x="458" y="2297"/>
                  </a:lnTo>
                  <a:lnTo>
                    <a:pt x="452" y="2289"/>
                  </a:lnTo>
                  <a:lnTo>
                    <a:pt x="445" y="2280"/>
                  </a:lnTo>
                  <a:lnTo>
                    <a:pt x="438" y="2273"/>
                  </a:lnTo>
                  <a:lnTo>
                    <a:pt x="430" y="2267"/>
                  </a:lnTo>
                  <a:lnTo>
                    <a:pt x="422" y="2262"/>
                  </a:lnTo>
                  <a:lnTo>
                    <a:pt x="413" y="2258"/>
                  </a:lnTo>
                  <a:lnTo>
                    <a:pt x="404" y="2254"/>
                  </a:lnTo>
                  <a:lnTo>
                    <a:pt x="393" y="2253"/>
                  </a:lnTo>
                  <a:lnTo>
                    <a:pt x="383" y="2252"/>
                  </a:lnTo>
                  <a:lnTo>
                    <a:pt x="383" y="2252"/>
                  </a:lnTo>
                  <a:close/>
                  <a:moveTo>
                    <a:pt x="383" y="2454"/>
                  </a:moveTo>
                  <a:lnTo>
                    <a:pt x="383" y="2454"/>
                  </a:lnTo>
                  <a:lnTo>
                    <a:pt x="374" y="2452"/>
                  </a:lnTo>
                  <a:lnTo>
                    <a:pt x="365" y="2449"/>
                  </a:lnTo>
                  <a:lnTo>
                    <a:pt x="359" y="2442"/>
                  </a:lnTo>
                  <a:lnTo>
                    <a:pt x="353" y="2434"/>
                  </a:lnTo>
                  <a:lnTo>
                    <a:pt x="348" y="2424"/>
                  </a:lnTo>
                  <a:lnTo>
                    <a:pt x="343" y="2412"/>
                  </a:lnTo>
                  <a:lnTo>
                    <a:pt x="341" y="2397"/>
                  </a:lnTo>
                  <a:lnTo>
                    <a:pt x="341" y="2382"/>
                  </a:lnTo>
                  <a:lnTo>
                    <a:pt x="341" y="2382"/>
                  </a:lnTo>
                  <a:lnTo>
                    <a:pt x="341" y="2366"/>
                  </a:lnTo>
                  <a:lnTo>
                    <a:pt x="343" y="2352"/>
                  </a:lnTo>
                  <a:lnTo>
                    <a:pt x="348" y="2340"/>
                  </a:lnTo>
                  <a:lnTo>
                    <a:pt x="353" y="2329"/>
                  </a:lnTo>
                  <a:lnTo>
                    <a:pt x="359" y="2321"/>
                  </a:lnTo>
                  <a:lnTo>
                    <a:pt x="365" y="2315"/>
                  </a:lnTo>
                  <a:lnTo>
                    <a:pt x="374" y="2311"/>
                  </a:lnTo>
                  <a:lnTo>
                    <a:pt x="383" y="2310"/>
                  </a:lnTo>
                  <a:lnTo>
                    <a:pt x="383" y="2310"/>
                  </a:lnTo>
                  <a:lnTo>
                    <a:pt x="392" y="2311"/>
                  </a:lnTo>
                  <a:lnTo>
                    <a:pt x="401" y="2315"/>
                  </a:lnTo>
                  <a:lnTo>
                    <a:pt x="408" y="2321"/>
                  </a:lnTo>
                  <a:lnTo>
                    <a:pt x="414" y="2329"/>
                  </a:lnTo>
                  <a:lnTo>
                    <a:pt x="419" y="2340"/>
                  </a:lnTo>
                  <a:lnTo>
                    <a:pt x="423" y="2352"/>
                  </a:lnTo>
                  <a:lnTo>
                    <a:pt x="425" y="2366"/>
                  </a:lnTo>
                  <a:lnTo>
                    <a:pt x="426" y="2382"/>
                  </a:lnTo>
                  <a:lnTo>
                    <a:pt x="426" y="2382"/>
                  </a:lnTo>
                  <a:lnTo>
                    <a:pt x="425" y="2397"/>
                  </a:lnTo>
                  <a:lnTo>
                    <a:pt x="423" y="2412"/>
                  </a:lnTo>
                  <a:lnTo>
                    <a:pt x="419" y="2424"/>
                  </a:lnTo>
                  <a:lnTo>
                    <a:pt x="414" y="2434"/>
                  </a:lnTo>
                  <a:lnTo>
                    <a:pt x="408" y="2442"/>
                  </a:lnTo>
                  <a:lnTo>
                    <a:pt x="401" y="2449"/>
                  </a:lnTo>
                  <a:lnTo>
                    <a:pt x="392" y="2452"/>
                  </a:lnTo>
                  <a:lnTo>
                    <a:pt x="383" y="2454"/>
                  </a:lnTo>
                  <a:lnTo>
                    <a:pt x="383" y="2454"/>
                  </a:lnTo>
                  <a:close/>
                  <a:moveTo>
                    <a:pt x="2140" y="2327"/>
                  </a:moveTo>
                  <a:lnTo>
                    <a:pt x="2140" y="2327"/>
                  </a:lnTo>
                  <a:lnTo>
                    <a:pt x="2131" y="2322"/>
                  </a:lnTo>
                  <a:lnTo>
                    <a:pt x="2123" y="2317"/>
                  </a:lnTo>
                  <a:lnTo>
                    <a:pt x="2114" y="2315"/>
                  </a:lnTo>
                  <a:lnTo>
                    <a:pt x="2105" y="2313"/>
                  </a:lnTo>
                  <a:lnTo>
                    <a:pt x="2105" y="2313"/>
                  </a:lnTo>
                  <a:lnTo>
                    <a:pt x="2096" y="2315"/>
                  </a:lnTo>
                  <a:lnTo>
                    <a:pt x="2089" y="2317"/>
                  </a:lnTo>
                  <a:lnTo>
                    <a:pt x="2083" y="2322"/>
                  </a:lnTo>
                  <a:lnTo>
                    <a:pt x="2077" y="2328"/>
                  </a:lnTo>
                  <a:lnTo>
                    <a:pt x="2073" y="2336"/>
                  </a:lnTo>
                  <a:lnTo>
                    <a:pt x="2070" y="2345"/>
                  </a:lnTo>
                  <a:lnTo>
                    <a:pt x="2068" y="2358"/>
                  </a:lnTo>
                  <a:lnTo>
                    <a:pt x="2068" y="2371"/>
                  </a:lnTo>
                  <a:lnTo>
                    <a:pt x="2068" y="2505"/>
                  </a:lnTo>
                  <a:lnTo>
                    <a:pt x="2016" y="2505"/>
                  </a:lnTo>
                  <a:lnTo>
                    <a:pt x="2016" y="2258"/>
                  </a:lnTo>
                  <a:lnTo>
                    <a:pt x="2068" y="2258"/>
                  </a:lnTo>
                  <a:lnTo>
                    <a:pt x="2068" y="2279"/>
                  </a:lnTo>
                  <a:lnTo>
                    <a:pt x="2068" y="2279"/>
                  </a:lnTo>
                  <a:lnTo>
                    <a:pt x="2072" y="2273"/>
                  </a:lnTo>
                  <a:lnTo>
                    <a:pt x="2077" y="2267"/>
                  </a:lnTo>
                  <a:lnTo>
                    <a:pt x="2083" y="2263"/>
                  </a:lnTo>
                  <a:lnTo>
                    <a:pt x="2089" y="2259"/>
                  </a:lnTo>
                  <a:lnTo>
                    <a:pt x="2095" y="2256"/>
                  </a:lnTo>
                  <a:lnTo>
                    <a:pt x="2101" y="2254"/>
                  </a:lnTo>
                  <a:lnTo>
                    <a:pt x="2108" y="2253"/>
                  </a:lnTo>
                  <a:lnTo>
                    <a:pt x="2114" y="2252"/>
                  </a:lnTo>
                  <a:lnTo>
                    <a:pt x="2114" y="2252"/>
                  </a:lnTo>
                  <a:lnTo>
                    <a:pt x="2124" y="2253"/>
                  </a:lnTo>
                  <a:lnTo>
                    <a:pt x="2135" y="2257"/>
                  </a:lnTo>
                  <a:lnTo>
                    <a:pt x="2145" y="2262"/>
                  </a:lnTo>
                  <a:lnTo>
                    <a:pt x="2153" y="2268"/>
                  </a:lnTo>
                  <a:lnTo>
                    <a:pt x="2140" y="2327"/>
                  </a:lnTo>
                  <a:close/>
                  <a:moveTo>
                    <a:pt x="1732" y="2258"/>
                  </a:moveTo>
                  <a:lnTo>
                    <a:pt x="1783" y="2258"/>
                  </a:lnTo>
                  <a:lnTo>
                    <a:pt x="1723" y="2505"/>
                  </a:lnTo>
                  <a:lnTo>
                    <a:pt x="1679" y="2505"/>
                  </a:lnTo>
                  <a:lnTo>
                    <a:pt x="1656" y="2403"/>
                  </a:lnTo>
                  <a:lnTo>
                    <a:pt x="1656" y="2403"/>
                  </a:lnTo>
                  <a:lnTo>
                    <a:pt x="1644" y="2349"/>
                  </a:lnTo>
                  <a:lnTo>
                    <a:pt x="1644" y="2349"/>
                  </a:lnTo>
                  <a:lnTo>
                    <a:pt x="1639" y="2375"/>
                  </a:lnTo>
                  <a:lnTo>
                    <a:pt x="1633" y="2404"/>
                  </a:lnTo>
                  <a:lnTo>
                    <a:pt x="1610" y="2505"/>
                  </a:lnTo>
                  <a:lnTo>
                    <a:pt x="1565" y="2505"/>
                  </a:lnTo>
                  <a:lnTo>
                    <a:pt x="1564" y="2504"/>
                  </a:lnTo>
                  <a:lnTo>
                    <a:pt x="1506" y="2258"/>
                  </a:lnTo>
                  <a:lnTo>
                    <a:pt x="1559" y="2258"/>
                  </a:lnTo>
                  <a:lnTo>
                    <a:pt x="1579" y="2350"/>
                  </a:lnTo>
                  <a:lnTo>
                    <a:pt x="1579" y="2350"/>
                  </a:lnTo>
                  <a:lnTo>
                    <a:pt x="1584" y="2380"/>
                  </a:lnTo>
                  <a:lnTo>
                    <a:pt x="1589" y="2411"/>
                  </a:lnTo>
                  <a:lnTo>
                    <a:pt x="1589" y="2411"/>
                  </a:lnTo>
                  <a:lnTo>
                    <a:pt x="1594" y="2380"/>
                  </a:lnTo>
                  <a:lnTo>
                    <a:pt x="1602" y="2349"/>
                  </a:lnTo>
                  <a:lnTo>
                    <a:pt x="1624" y="2258"/>
                  </a:lnTo>
                  <a:lnTo>
                    <a:pt x="1667" y="2258"/>
                  </a:lnTo>
                  <a:lnTo>
                    <a:pt x="1689" y="2349"/>
                  </a:lnTo>
                  <a:lnTo>
                    <a:pt x="1689" y="2349"/>
                  </a:lnTo>
                  <a:lnTo>
                    <a:pt x="1695" y="2379"/>
                  </a:lnTo>
                  <a:lnTo>
                    <a:pt x="1702" y="2412"/>
                  </a:lnTo>
                  <a:lnTo>
                    <a:pt x="1702" y="2412"/>
                  </a:lnTo>
                  <a:lnTo>
                    <a:pt x="1707" y="2383"/>
                  </a:lnTo>
                  <a:lnTo>
                    <a:pt x="1713" y="2349"/>
                  </a:lnTo>
                  <a:lnTo>
                    <a:pt x="1732" y="2258"/>
                  </a:lnTo>
                  <a:close/>
                  <a:moveTo>
                    <a:pt x="1888" y="2252"/>
                  </a:moveTo>
                  <a:lnTo>
                    <a:pt x="1888" y="2252"/>
                  </a:lnTo>
                  <a:lnTo>
                    <a:pt x="1879" y="2253"/>
                  </a:lnTo>
                  <a:lnTo>
                    <a:pt x="1868" y="2254"/>
                  </a:lnTo>
                  <a:lnTo>
                    <a:pt x="1859" y="2258"/>
                  </a:lnTo>
                  <a:lnTo>
                    <a:pt x="1850" y="2262"/>
                  </a:lnTo>
                  <a:lnTo>
                    <a:pt x="1842" y="2267"/>
                  </a:lnTo>
                  <a:lnTo>
                    <a:pt x="1834" y="2274"/>
                  </a:lnTo>
                  <a:lnTo>
                    <a:pt x="1827" y="2280"/>
                  </a:lnTo>
                  <a:lnTo>
                    <a:pt x="1820" y="2289"/>
                  </a:lnTo>
                  <a:lnTo>
                    <a:pt x="1814" y="2297"/>
                  </a:lnTo>
                  <a:lnTo>
                    <a:pt x="1809" y="2307"/>
                  </a:lnTo>
                  <a:lnTo>
                    <a:pt x="1804" y="2318"/>
                  </a:lnTo>
                  <a:lnTo>
                    <a:pt x="1800" y="2329"/>
                  </a:lnTo>
                  <a:lnTo>
                    <a:pt x="1797" y="2342"/>
                  </a:lnTo>
                  <a:lnTo>
                    <a:pt x="1794" y="2355"/>
                  </a:lnTo>
                  <a:lnTo>
                    <a:pt x="1793" y="2367"/>
                  </a:lnTo>
                  <a:lnTo>
                    <a:pt x="1793" y="2382"/>
                  </a:lnTo>
                  <a:lnTo>
                    <a:pt x="1793" y="2382"/>
                  </a:lnTo>
                  <a:lnTo>
                    <a:pt x="1793" y="2396"/>
                  </a:lnTo>
                  <a:lnTo>
                    <a:pt x="1794" y="2409"/>
                  </a:lnTo>
                  <a:lnTo>
                    <a:pt x="1797" y="2422"/>
                  </a:lnTo>
                  <a:lnTo>
                    <a:pt x="1800" y="2434"/>
                  </a:lnTo>
                  <a:lnTo>
                    <a:pt x="1804" y="2445"/>
                  </a:lnTo>
                  <a:lnTo>
                    <a:pt x="1809" y="2456"/>
                  </a:lnTo>
                  <a:lnTo>
                    <a:pt x="1814" y="2466"/>
                  </a:lnTo>
                  <a:lnTo>
                    <a:pt x="1820" y="2474"/>
                  </a:lnTo>
                  <a:lnTo>
                    <a:pt x="1827" y="2483"/>
                  </a:lnTo>
                  <a:lnTo>
                    <a:pt x="1834" y="2490"/>
                  </a:lnTo>
                  <a:lnTo>
                    <a:pt x="1842" y="2497"/>
                  </a:lnTo>
                  <a:lnTo>
                    <a:pt x="1850" y="2502"/>
                  </a:lnTo>
                  <a:lnTo>
                    <a:pt x="1859" y="2505"/>
                  </a:lnTo>
                  <a:lnTo>
                    <a:pt x="1868" y="2509"/>
                  </a:lnTo>
                  <a:lnTo>
                    <a:pt x="1879" y="2510"/>
                  </a:lnTo>
                  <a:lnTo>
                    <a:pt x="1888" y="2511"/>
                  </a:lnTo>
                  <a:lnTo>
                    <a:pt x="1888" y="2511"/>
                  </a:lnTo>
                  <a:lnTo>
                    <a:pt x="1898" y="2510"/>
                  </a:lnTo>
                  <a:lnTo>
                    <a:pt x="1909" y="2509"/>
                  </a:lnTo>
                  <a:lnTo>
                    <a:pt x="1918" y="2505"/>
                  </a:lnTo>
                  <a:lnTo>
                    <a:pt x="1926" y="2502"/>
                  </a:lnTo>
                  <a:lnTo>
                    <a:pt x="1935" y="2497"/>
                  </a:lnTo>
                  <a:lnTo>
                    <a:pt x="1943" y="2490"/>
                  </a:lnTo>
                  <a:lnTo>
                    <a:pt x="1950" y="2483"/>
                  </a:lnTo>
                  <a:lnTo>
                    <a:pt x="1957" y="2474"/>
                  </a:lnTo>
                  <a:lnTo>
                    <a:pt x="1963" y="2466"/>
                  </a:lnTo>
                  <a:lnTo>
                    <a:pt x="1968" y="2456"/>
                  </a:lnTo>
                  <a:lnTo>
                    <a:pt x="1972" y="2445"/>
                  </a:lnTo>
                  <a:lnTo>
                    <a:pt x="1976" y="2434"/>
                  </a:lnTo>
                  <a:lnTo>
                    <a:pt x="1979" y="2422"/>
                  </a:lnTo>
                  <a:lnTo>
                    <a:pt x="1982" y="2409"/>
                  </a:lnTo>
                  <a:lnTo>
                    <a:pt x="1984" y="2396"/>
                  </a:lnTo>
                  <a:lnTo>
                    <a:pt x="1984" y="2382"/>
                  </a:lnTo>
                  <a:lnTo>
                    <a:pt x="1984" y="2382"/>
                  </a:lnTo>
                  <a:lnTo>
                    <a:pt x="1984" y="2367"/>
                  </a:lnTo>
                  <a:lnTo>
                    <a:pt x="1982" y="2355"/>
                  </a:lnTo>
                  <a:lnTo>
                    <a:pt x="1979" y="2342"/>
                  </a:lnTo>
                  <a:lnTo>
                    <a:pt x="1976" y="2329"/>
                  </a:lnTo>
                  <a:lnTo>
                    <a:pt x="1972" y="2318"/>
                  </a:lnTo>
                  <a:lnTo>
                    <a:pt x="1968" y="2307"/>
                  </a:lnTo>
                  <a:lnTo>
                    <a:pt x="1963" y="2297"/>
                  </a:lnTo>
                  <a:lnTo>
                    <a:pt x="1957" y="2289"/>
                  </a:lnTo>
                  <a:lnTo>
                    <a:pt x="1950" y="2280"/>
                  </a:lnTo>
                  <a:lnTo>
                    <a:pt x="1943" y="2274"/>
                  </a:lnTo>
                  <a:lnTo>
                    <a:pt x="1935" y="2267"/>
                  </a:lnTo>
                  <a:lnTo>
                    <a:pt x="1926" y="2262"/>
                  </a:lnTo>
                  <a:lnTo>
                    <a:pt x="1918" y="2258"/>
                  </a:lnTo>
                  <a:lnTo>
                    <a:pt x="1909" y="2254"/>
                  </a:lnTo>
                  <a:lnTo>
                    <a:pt x="1898" y="2253"/>
                  </a:lnTo>
                  <a:lnTo>
                    <a:pt x="1888" y="2252"/>
                  </a:lnTo>
                  <a:lnTo>
                    <a:pt x="1888" y="2252"/>
                  </a:lnTo>
                  <a:close/>
                  <a:moveTo>
                    <a:pt x="1888" y="2454"/>
                  </a:moveTo>
                  <a:lnTo>
                    <a:pt x="1888" y="2454"/>
                  </a:lnTo>
                  <a:lnTo>
                    <a:pt x="1879" y="2452"/>
                  </a:lnTo>
                  <a:lnTo>
                    <a:pt x="1871" y="2449"/>
                  </a:lnTo>
                  <a:lnTo>
                    <a:pt x="1864" y="2442"/>
                  </a:lnTo>
                  <a:lnTo>
                    <a:pt x="1858" y="2434"/>
                  </a:lnTo>
                  <a:lnTo>
                    <a:pt x="1853" y="2424"/>
                  </a:lnTo>
                  <a:lnTo>
                    <a:pt x="1848" y="2412"/>
                  </a:lnTo>
                  <a:lnTo>
                    <a:pt x="1846" y="2397"/>
                  </a:lnTo>
                  <a:lnTo>
                    <a:pt x="1846" y="2382"/>
                  </a:lnTo>
                  <a:lnTo>
                    <a:pt x="1846" y="2382"/>
                  </a:lnTo>
                  <a:lnTo>
                    <a:pt x="1846" y="2366"/>
                  </a:lnTo>
                  <a:lnTo>
                    <a:pt x="1848" y="2353"/>
                  </a:lnTo>
                  <a:lnTo>
                    <a:pt x="1853" y="2340"/>
                  </a:lnTo>
                  <a:lnTo>
                    <a:pt x="1858" y="2329"/>
                  </a:lnTo>
                  <a:lnTo>
                    <a:pt x="1864" y="2321"/>
                  </a:lnTo>
                  <a:lnTo>
                    <a:pt x="1871" y="2315"/>
                  </a:lnTo>
                  <a:lnTo>
                    <a:pt x="1879" y="2311"/>
                  </a:lnTo>
                  <a:lnTo>
                    <a:pt x="1888" y="2310"/>
                  </a:lnTo>
                  <a:lnTo>
                    <a:pt x="1888" y="2310"/>
                  </a:lnTo>
                  <a:lnTo>
                    <a:pt x="1897" y="2311"/>
                  </a:lnTo>
                  <a:lnTo>
                    <a:pt x="1906" y="2315"/>
                  </a:lnTo>
                  <a:lnTo>
                    <a:pt x="1913" y="2321"/>
                  </a:lnTo>
                  <a:lnTo>
                    <a:pt x="1919" y="2329"/>
                  </a:lnTo>
                  <a:lnTo>
                    <a:pt x="1924" y="2340"/>
                  </a:lnTo>
                  <a:lnTo>
                    <a:pt x="1927" y="2353"/>
                  </a:lnTo>
                  <a:lnTo>
                    <a:pt x="1930" y="2366"/>
                  </a:lnTo>
                  <a:lnTo>
                    <a:pt x="1931" y="2382"/>
                  </a:lnTo>
                  <a:lnTo>
                    <a:pt x="1931" y="2382"/>
                  </a:lnTo>
                  <a:lnTo>
                    <a:pt x="1930" y="2397"/>
                  </a:lnTo>
                  <a:lnTo>
                    <a:pt x="1927" y="2412"/>
                  </a:lnTo>
                  <a:lnTo>
                    <a:pt x="1924" y="2424"/>
                  </a:lnTo>
                  <a:lnTo>
                    <a:pt x="1919" y="2434"/>
                  </a:lnTo>
                  <a:lnTo>
                    <a:pt x="1913" y="2442"/>
                  </a:lnTo>
                  <a:lnTo>
                    <a:pt x="1906" y="2449"/>
                  </a:lnTo>
                  <a:lnTo>
                    <a:pt x="1897" y="2452"/>
                  </a:lnTo>
                  <a:lnTo>
                    <a:pt x="1888" y="2454"/>
                  </a:lnTo>
                  <a:lnTo>
                    <a:pt x="1888" y="2454"/>
                  </a:lnTo>
                  <a:close/>
                  <a:moveTo>
                    <a:pt x="789" y="2339"/>
                  </a:moveTo>
                  <a:lnTo>
                    <a:pt x="852" y="2505"/>
                  </a:lnTo>
                  <a:lnTo>
                    <a:pt x="795" y="2505"/>
                  </a:lnTo>
                  <a:lnTo>
                    <a:pt x="751" y="2391"/>
                  </a:lnTo>
                  <a:lnTo>
                    <a:pt x="723" y="2431"/>
                  </a:lnTo>
                  <a:lnTo>
                    <a:pt x="723" y="2505"/>
                  </a:lnTo>
                  <a:lnTo>
                    <a:pt x="672" y="2505"/>
                  </a:lnTo>
                  <a:lnTo>
                    <a:pt x="672" y="2186"/>
                  </a:lnTo>
                  <a:lnTo>
                    <a:pt x="723" y="2155"/>
                  </a:lnTo>
                  <a:lnTo>
                    <a:pt x="723" y="2353"/>
                  </a:lnTo>
                  <a:lnTo>
                    <a:pt x="723" y="2353"/>
                  </a:lnTo>
                  <a:lnTo>
                    <a:pt x="743" y="2321"/>
                  </a:lnTo>
                  <a:lnTo>
                    <a:pt x="785" y="2258"/>
                  </a:lnTo>
                  <a:lnTo>
                    <a:pt x="845" y="2258"/>
                  </a:lnTo>
                  <a:lnTo>
                    <a:pt x="789" y="2339"/>
                  </a:lnTo>
                  <a:close/>
                  <a:moveTo>
                    <a:pt x="1034" y="2505"/>
                  </a:moveTo>
                  <a:lnTo>
                    <a:pt x="982" y="2505"/>
                  </a:lnTo>
                  <a:lnTo>
                    <a:pt x="982" y="2258"/>
                  </a:lnTo>
                  <a:lnTo>
                    <a:pt x="1034" y="2258"/>
                  </a:lnTo>
                  <a:lnTo>
                    <a:pt x="1034" y="2279"/>
                  </a:lnTo>
                  <a:lnTo>
                    <a:pt x="1034" y="2279"/>
                  </a:lnTo>
                  <a:lnTo>
                    <a:pt x="1040" y="2273"/>
                  </a:lnTo>
                  <a:lnTo>
                    <a:pt x="1045" y="2268"/>
                  </a:lnTo>
                  <a:lnTo>
                    <a:pt x="1051" y="2263"/>
                  </a:lnTo>
                  <a:lnTo>
                    <a:pt x="1057" y="2259"/>
                  </a:lnTo>
                  <a:lnTo>
                    <a:pt x="1065" y="2257"/>
                  </a:lnTo>
                  <a:lnTo>
                    <a:pt x="1072" y="2254"/>
                  </a:lnTo>
                  <a:lnTo>
                    <a:pt x="1079" y="2253"/>
                  </a:lnTo>
                  <a:lnTo>
                    <a:pt x="1088" y="2252"/>
                  </a:lnTo>
                  <a:lnTo>
                    <a:pt x="1088" y="2252"/>
                  </a:lnTo>
                  <a:lnTo>
                    <a:pt x="1097" y="2253"/>
                  </a:lnTo>
                  <a:lnTo>
                    <a:pt x="1105" y="2254"/>
                  </a:lnTo>
                  <a:lnTo>
                    <a:pt x="1113" y="2257"/>
                  </a:lnTo>
                  <a:lnTo>
                    <a:pt x="1121" y="2259"/>
                  </a:lnTo>
                  <a:lnTo>
                    <a:pt x="1127" y="2264"/>
                  </a:lnTo>
                  <a:lnTo>
                    <a:pt x="1133" y="2269"/>
                  </a:lnTo>
                  <a:lnTo>
                    <a:pt x="1140" y="2274"/>
                  </a:lnTo>
                  <a:lnTo>
                    <a:pt x="1145" y="2281"/>
                  </a:lnTo>
                  <a:lnTo>
                    <a:pt x="1149" y="2289"/>
                  </a:lnTo>
                  <a:lnTo>
                    <a:pt x="1153" y="2297"/>
                  </a:lnTo>
                  <a:lnTo>
                    <a:pt x="1156" y="2306"/>
                  </a:lnTo>
                  <a:lnTo>
                    <a:pt x="1159" y="2317"/>
                  </a:lnTo>
                  <a:lnTo>
                    <a:pt x="1161" y="2328"/>
                  </a:lnTo>
                  <a:lnTo>
                    <a:pt x="1163" y="2339"/>
                  </a:lnTo>
                  <a:lnTo>
                    <a:pt x="1164" y="2352"/>
                  </a:lnTo>
                  <a:lnTo>
                    <a:pt x="1165" y="2365"/>
                  </a:lnTo>
                  <a:lnTo>
                    <a:pt x="1165" y="2505"/>
                  </a:lnTo>
                  <a:lnTo>
                    <a:pt x="1113" y="2505"/>
                  </a:lnTo>
                  <a:lnTo>
                    <a:pt x="1113" y="2369"/>
                  </a:lnTo>
                  <a:lnTo>
                    <a:pt x="1113" y="2369"/>
                  </a:lnTo>
                  <a:lnTo>
                    <a:pt x="1112" y="2355"/>
                  </a:lnTo>
                  <a:lnTo>
                    <a:pt x="1110" y="2342"/>
                  </a:lnTo>
                  <a:lnTo>
                    <a:pt x="1107" y="2332"/>
                  </a:lnTo>
                  <a:lnTo>
                    <a:pt x="1103" y="2323"/>
                  </a:lnTo>
                  <a:lnTo>
                    <a:pt x="1098" y="2317"/>
                  </a:lnTo>
                  <a:lnTo>
                    <a:pt x="1092" y="2312"/>
                  </a:lnTo>
                  <a:lnTo>
                    <a:pt x="1083" y="2310"/>
                  </a:lnTo>
                  <a:lnTo>
                    <a:pt x="1074" y="2308"/>
                  </a:lnTo>
                  <a:lnTo>
                    <a:pt x="1074" y="2308"/>
                  </a:lnTo>
                  <a:lnTo>
                    <a:pt x="1066" y="2310"/>
                  </a:lnTo>
                  <a:lnTo>
                    <a:pt x="1057" y="2312"/>
                  </a:lnTo>
                  <a:lnTo>
                    <a:pt x="1050" y="2317"/>
                  </a:lnTo>
                  <a:lnTo>
                    <a:pt x="1045" y="2324"/>
                  </a:lnTo>
                  <a:lnTo>
                    <a:pt x="1041" y="2332"/>
                  </a:lnTo>
                  <a:lnTo>
                    <a:pt x="1038" y="2343"/>
                  </a:lnTo>
                  <a:lnTo>
                    <a:pt x="1036" y="2355"/>
                  </a:lnTo>
                  <a:lnTo>
                    <a:pt x="1034" y="2369"/>
                  </a:lnTo>
                  <a:lnTo>
                    <a:pt x="1034" y="2505"/>
                  </a:lnTo>
                  <a:close/>
                  <a:moveTo>
                    <a:pt x="1328" y="2275"/>
                  </a:moveTo>
                  <a:lnTo>
                    <a:pt x="1328" y="2275"/>
                  </a:lnTo>
                  <a:lnTo>
                    <a:pt x="1323" y="2270"/>
                  </a:lnTo>
                  <a:lnTo>
                    <a:pt x="1318" y="2265"/>
                  </a:lnTo>
                  <a:lnTo>
                    <a:pt x="1312" y="2262"/>
                  </a:lnTo>
                  <a:lnTo>
                    <a:pt x="1306" y="2258"/>
                  </a:lnTo>
                  <a:lnTo>
                    <a:pt x="1300" y="2256"/>
                  </a:lnTo>
                  <a:lnTo>
                    <a:pt x="1294" y="2254"/>
                  </a:lnTo>
                  <a:lnTo>
                    <a:pt x="1287" y="2253"/>
                  </a:lnTo>
                  <a:lnTo>
                    <a:pt x="1281" y="2252"/>
                  </a:lnTo>
                  <a:lnTo>
                    <a:pt x="1281" y="2252"/>
                  </a:lnTo>
                  <a:lnTo>
                    <a:pt x="1272" y="2253"/>
                  </a:lnTo>
                  <a:lnTo>
                    <a:pt x="1263" y="2254"/>
                  </a:lnTo>
                  <a:lnTo>
                    <a:pt x="1255" y="2257"/>
                  </a:lnTo>
                  <a:lnTo>
                    <a:pt x="1247" y="2262"/>
                  </a:lnTo>
                  <a:lnTo>
                    <a:pt x="1240" y="2265"/>
                  </a:lnTo>
                  <a:lnTo>
                    <a:pt x="1233" y="2272"/>
                  </a:lnTo>
                  <a:lnTo>
                    <a:pt x="1227" y="2279"/>
                  </a:lnTo>
                  <a:lnTo>
                    <a:pt x="1221" y="2286"/>
                  </a:lnTo>
                  <a:lnTo>
                    <a:pt x="1216" y="2295"/>
                  </a:lnTo>
                  <a:lnTo>
                    <a:pt x="1211" y="2305"/>
                  </a:lnTo>
                  <a:lnTo>
                    <a:pt x="1207" y="2315"/>
                  </a:lnTo>
                  <a:lnTo>
                    <a:pt x="1204" y="2327"/>
                  </a:lnTo>
                  <a:lnTo>
                    <a:pt x="1202" y="2338"/>
                  </a:lnTo>
                  <a:lnTo>
                    <a:pt x="1200" y="2352"/>
                  </a:lnTo>
                  <a:lnTo>
                    <a:pt x="1199" y="2365"/>
                  </a:lnTo>
                  <a:lnTo>
                    <a:pt x="1199" y="2379"/>
                  </a:lnTo>
                  <a:lnTo>
                    <a:pt x="1199" y="2379"/>
                  </a:lnTo>
                  <a:lnTo>
                    <a:pt x="1199" y="2395"/>
                  </a:lnTo>
                  <a:lnTo>
                    <a:pt x="1200" y="2408"/>
                  </a:lnTo>
                  <a:lnTo>
                    <a:pt x="1202" y="2422"/>
                  </a:lnTo>
                  <a:lnTo>
                    <a:pt x="1204" y="2435"/>
                  </a:lnTo>
                  <a:lnTo>
                    <a:pt x="1207" y="2446"/>
                  </a:lnTo>
                  <a:lnTo>
                    <a:pt x="1211" y="2457"/>
                  </a:lnTo>
                  <a:lnTo>
                    <a:pt x="1216" y="2467"/>
                  </a:lnTo>
                  <a:lnTo>
                    <a:pt x="1221" y="2476"/>
                  </a:lnTo>
                  <a:lnTo>
                    <a:pt x="1226" y="2484"/>
                  </a:lnTo>
                  <a:lnTo>
                    <a:pt x="1232" y="2490"/>
                  </a:lnTo>
                  <a:lnTo>
                    <a:pt x="1238" y="2497"/>
                  </a:lnTo>
                  <a:lnTo>
                    <a:pt x="1246" y="2502"/>
                  </a:lnTo>
                  <a:lnTo>
                    <a:pt x="1254" y="2505"/>
                  </a:lnTo>
                  <a:lnTo>
                    <a:pt x="1262" y="2509"/>
                  </a:lnTo>
                  <a:lnTo>
                    <a:pt x="1271" y="2510"/>
                  </a:lnTo>
                  <a:lnTo>
                    <a:pt x="1280" y="2511"/>
                  </a:lnTo>
                  <a:lnTo>
                    <a:pt x="1280" y="2511"/>
                  </a:lnTo>
                  <a:lnTo>
                    <a:pt x="1286" y="2510"/>
                  </a:lnTo>
                  <a:lnTo>
                    <a:pt x="1294" y="2509"/>
                  </a:lnTo>
                  <a:lnTo>
                    <a:pt x="1300" y="2508"/>
                  </a:lnTo>
                  <a:lnTo>
                    <a:pt x="1306" y="2505"/>
                  </a:lnTo>
                  <a:lnTo>
                    <a:pt x="1311" y="2502"/>
                  </a:lnTo>
                  <a:lnTo>
                    <a:pt x="1318" y="2498"/>
                  </a:lnTo>
                  <a:lnTo>
                    <a:pt x="1323" y="2493"/>
                  </a:lnTo>
                  <a:lnTo>
                    <a:pt x="1328" y="2487"/>
                  </a:lnTo>
                  <a:lnTo>
                    <a:pt x="1328" y="2493"/>
                  </a:lnTo>
                  <a:lnTo>
                    <a:pt x="1328" y="2493"/>
                  </a:lnTo>
                  <a:lnTo>
                    <a:pt x="1328" y="2503"/>
                  </a:lnTo>
                  <a:lnTo>
                    <a:pt x="1327" y="2514"/>
                  </a:lnTo>
                  <a:lnTo>
                    <a:pt x="1324" y="2525"/>
                  </a:lnTo>
                  <a:lnTo>
                    <a:pt x="1322" y="2530"/>
                  </a:lnTo>
                  <a:lnTo>
                    <a:pt x="1320" y="2535"/>
                  </a:lnTo>
                  <a:lnTo>
                    <a:pt x="1315" y="2540"/>
                  </a:lnTo>
                  <a:lnTo>
                    <a:pt x="1311" y="2545"/>
                  </a:lnTo>
                  <a:lnTo>
                    <a:pt x="1306" y="2548"/>
                  </a:lnTo>
                  <a:lnTo>
                    <a:pt x="1300" y="2552"/>
                  </a:lnTo>
                  <a:lnTo>
                    <a:pt x="1292" y="2554"/>
                  </a:lnTo>
                  <a:lnTo>
                    <a:pt x="1283" y="2557"/>
                  </a:lnTo>
                  <a:lnTo>
                    <a:pt x="1273" y="2558"/>
                  </a:lnTo>
                  <a:lnTo>
                    <a:pt x="1260" y="2558"/>
                  </a:lnTo>
                  <a:lnTo>
                    <a:pt x="1258" y="2558"/>
                  </a:lnTo>
                  <a:lnTo>
                    <a:pt x="1277" y="2606"/>
                  </a:lnTo>
                  <a:lnTo>
                    <a:pt x="1278" y="2606"/>
                  </a:lnTo>
                  <a:lnTo>
                    <a:pt x="1278" y="2606"/>
                  </a:lnTo>
                  <a:lnTo>
                    <a:pt x="1291" y="2606"/>
                  </a:lnTo>
                  <a:lnTo>
                    <a:pt x="1302" y="2605"/>
                  </a:lnTo>
                  <a:lnTo>
                    <a:pt x="1312" y="2601"/>
                  </a:lnTo>
                  <a:lnTo>
                    <a:pt x="1323" y="2599"/>
                  </a:lnTo>
                  <a:lnTo>
                    <a:pt x="1332" y="2594"/>
                  </a:lnTo>
                  <a:lnTo>
                    <a:pt x="1340" y="2589"/>
                  </a:lnTo>
                  <a:lnTo>
                    <a:pt x="1348" y="2583"/>
                  </a:lnTo>
                  <a:lnTo>
                    <a:pt x="1354" y="2575"/>
                  </a:lnTo>
                  <a:lnTo>
                    <a:pt x="1360" y="2567"/>
                  </a:lnTo>
                  <a:lnTo>
                    <a:pt x="1365" y="2558"/>
                  </a:lnTo>
                  <a:lnTo>
                    <a:pt x="1370" y="2547"/>
                  </a:lnTo>
                  <a:lnTo>
                    <a:pt x="1373" y="2536"/>
                  </a:lnTo>
                  <a:lnTo>
                    <a:pt x="1376" y="2525"/>
                  </a:lnTo>
                  <a:lnTo>
                    <a:pt x="1378" y="2511"/>
                  </a:lnTo>
                  <a:lnTo>
                    <a:pt x="1379" y="2498"/>
                  </a:lnTo>
                  <a:lnTo>
                    <a:pt x="1379" y="2483"/>
                  </a:lnTo>
                  <a:lnTo>
                    <a:pt x="1379" y="2258"/>
                  </a:lnTo>
                  <a:lnTo>
                    <a:pt x="1328" y="2258"/>
                  </a:lnTo>
                  <a:lnTo>
                    <a:pt x="1328" y="2275"/>
                  </a:lnTo>
                  <a:close/>
                  <a:moveTo>
                    <a:pt x="1328" y="2333"/>
                  </a:moveTo>
                  <a:lnTo>
                    <a:pt x="1328" y="2430"/>
                  </a:lnTo>
                  <a:lnTo>
                    <a:pt x="1328" y="2430"/>
                  </a:lnTo>
                  <a:lnTo>
                    <a:pt x="1321" y="2439"/>
                  </a:lnTo>
                  <a:lnTo>
                    <a:pt x="1313" y="2447"/>
                  </a:lnTo>
                  <a:lnTo>
                    <a:pt x="1308" y="2450"/>
                  </a:lnTo>
                  <a:lnTo>
                    <a:pt x="1303" y="2452"/>
                  </a:lnTo>
                  <a:lnTo>
                    <a:pt x="1298" y="2454"/>
                  </a:lnTo>
                  <a:lnTo>
                    <a:pt x="1291" y="2455"/>
                  </a:lnTo>
                  <a:lnTo>
                    <a:pt x="1291" y="2455"/>
                  </a:lnTo>
                  <a:lnTo>
                    <a:pt x="1284" y="2454"/>
                  </a:lnTo>
                  <a:lnTo>
                    <a:pt x="1277" y="2451"/>
                  </a:lnTo>
                  <a:lnTo>
                    <a:pt x="1271" y="2447"/>
                  </a:lnTo>
                  <a:lnTo>
                    <a:pt x="1265" y="2440"/>
                  </a:lnTo>
                  <a:lnTo>
                    <a:pt x="1259" y="2430"/>
                  </a:lnTo>
                  <a:lnTo>
                    <a:pt x="1255" y="2417"/>
                  </a:lnTo>
                  <a:lnTo>
                    <a:pt x="1253" y="2399"/>
                  </a:lnTo>
                  <a:lnTo>
                    <a:pt x="1252" y="2377"/>
                  </a:lnTo>
                  <a:lnTo>
                    <a:pt x="1252" y="2377"/>
                  </a:lnTo>
                  <a:lnTo>
                    <a:pt x="1253" y="2359"/>
                  </a:lnTo>
                  <a:lnTo>
                    <a:pt x="1255" y="2343"/>
                  </a:lnTo>
                  <a:lnTo>
                    <a:pt x="1259" y="2331"/>
                  </a:lnTo>
                  <a:lnTo>
                    <a:pt x="1265" y="2322"/>
                  </a:lnTo>
                  <a:lnTo>
                    <a:pt x="1271" y="2316"/>
                  </a:lnTo>
                  <a:lnTo>
                    <a:pt x="1277" y="2311"/>
                  </a:lnTo>
                  <a:lnTo>
                    <a:pt x="1284" y="2310"/>
                  </a:lnTo>
                  <a:lnTo>
                    <a:pt x="1291" y="2308"/>
                  </a:lnTo>
                  <a:lnTo>
                    <a:pt x="1291" y="2308"/>
                  </a:lnTo>
                  <a:lnTo>
                    <a:pt x="1298" y="2310"/>
                  </a:lnTo>
                  <a:lnTo>
                    <a:pt x="1304" y="2311"/>
                  </a:lnTo>
                  <a:lnTo>
                    <a:pt x="1309" y="2313"/>
                  </a:lnTo>
                  <a:lnTo>
                    <a:pt x="1314" y="2317"/>
                  </a:lnTo>
                  <a:lnTo>
                    <a:pt x="1319" y="2321"/>
                  </a:lnTo>
                  <a:lnTo>
                    <a:pt x="1322" y="2324"/>
                  </a:lnTo>
                  <a:lnTo>
                    <a:pt x="1328" y="2333"/>
                  </a:lnTo>
                  <a:lnTo>
                    <a:pt x="1328" y="2333"/>
                  </a:lnTo>
                  <a:close/>
                  <a:moveTo>
                    <a:pt x="885" y="2258"/>
                  </a:moveTo>
                  <a:lnTo>
                    <a:pt x="937" y="2258"/>
                  </a:lnTo>
                  <a:lnTo>
                    <a:pt x="937" y="2367"/>
                  </a:lnTo>
                  <a:lnTo>
                    <a:pt x="937" y="2505"/>
                  </a:lnTo>
                  <a:lnTo>
                    <a:pt x="885" y="2505"/>
                  </a:lnTo>
                  <a:lnTo>
                    <a:pt x="885" y="2258"/>
                  </a:lnTo>
                  <a:close/>
                  <a:moveTo>
                    <a:pt x="937" y="2192"/>
                  </a:moveTo>
                  <a:lnTo>
                    <a:pt x="937" y="2222"/>
                  </a:lnTo>
                  <a:lnTo>
                    <a:pt x="885" y="2222"/>
                  </a:lnTo>
                  <a:lnTo>
                    <a:pt x="885" y="2161"/>
                  </a:lnTo>
                  <a:lnTo>
                    <a:pt x="937" y="2161"/>
                  </a:lnTo>
                  <a:lnTo>
                    <a:pt x="937" y="2192"/>
                  </a:lnTo>
                  <a:close/>
                  <a:moveTo>
                    <a:pt x="2177" y="2186"/>
                  </a:moveTo>
                  <a:lnTo>
                    <a:pt x="2229" y="2155"/>
                  </a:lnTo>
                  <a:lnTo>
                    <a:pt x="2229" y="2379"/>
                  </a:lnTo>
                  <a:lnTo>
                    <a:pt x="2229" y="2505"/>
                  </a:lnTo>
                  <a:lnTo>
                    <a:pt x="2177" y="2505"/>
                  </a:lnTo>
                  <a:lnTo>
                    <a:pt x="2177" y="2186"/>
                  </a:lnTo>
                  <a:close/>
                  <a:moveTo>
                    <a:pt x="375" y="843"/>
                  </a:moveTo>
                  <a:lnTo>
                    <a:pt x="801" y="843"/>
                  </a:lnTo>
                  <a:lnTo>
                    <a:pt x="801" y="550"/>
                  </a:lnTo>
                  <a:lnTo>
                    <a:pt x="375" y="550"/>
                  </a:lnTo>
                  <a:lnTo>
                    <a:pt x="375" y="321"/>
                  </a:lnTo>
                  <a:lnTo>
                    <a:pt x="847" y="321"/>
                  </a:lnTo>
                  <a:lnTo>
                    <a:pt x="690" y="0"/>
                  </a:lnTo>
                  <a:lnTo>
                    <a:pt x="21" y="0"/>
                  </a:lnTo>
                  <a:lnTo>
                    <a:pt x="21" y="1394"/>
                  </a:lnTo>
                  <a:lnTo>
                    <a:pt x="965" y="1394"/>
                  </a:lnTo>
                  <a:lnTo>
                    <a:pt x="965" y="1073"/>
                  </a:lnTo>
                  <a:lnTo>
                    <a:pt x="375" y="1073"/>
                  </a:lnTo>
                  <a:lnTo>
                    <a:pt x="375" y="843"/>
                  </a:lnTo>
                  <a:close/>
                  <a:moveTo>
                    <a:pt x="1593" y="0"/>
                  </a:moveTo>
                  <a:lnTo>
                    <a:pt x="1393" y="455"/>
                  </a:lnTo>
                  <a:lnTo>
                    <a:pt x="1193" y="0"/>
                  </a:lnTo>
                  <a:lnTo>
                    <a:pt x="801" y="0"/>
                  </a:lnTo>
                  <a:lnTo>
                    <a:pt x="1214" y="843"/>
                  </a:lnTo>
                  <a:lnTo>
                    <a:pt x="1214" y="1394"/>
                  </a:lnTo>
                  <a:lnTo>
                    <a:pt x="1566" y="1394"/>
                  </a:lnTo>
                  <a:lnTo>
                    <a:pt x="1566" y="843"/>
                  </a:lnTo>
                  <a:lnTo>
                    <a:pt x="1979" y="0"/>
                  </a:lnTo>
                  <a:lnTo>
                    <a:pt x="159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266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15" y="1597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15" y="1597"/>
                        <a:ext cx="190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738" y="1412879"/>
            <a:ext cx="9881236" cy="4519613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>
                <a:cs typeface="Arial"/>
              </a:defRPr>
            </a:lvl1pPr>
            <a:lvl2pPr>
              <a:defRPr>
                <a:cs typeface="Arial"/>
              </a:defRPr>
            </a:lvl2pPr>
            <a:lvl3pPr>
              <a:defRPr>
                <a:cs typeface="Arial"/>
              </a:defRPr>
            </a:lvl3pPr>
            <a:lvl4pPr>
              <a:defRPr>
                <a:cs typeface="Arial"/>
              </a:defRPr>
            </a:lvl4pPr>
            <a:lvl5pPr>
              <a:defRPr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7633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 descr="Satellite2"/>
          <p:cNvPicPr>
            <a:picLocks noChangeAspect="1" noChangeArrowheads="1"/>
          </p:cNvPicPr>
          <p:nvPr userDrawn="1"/>
        </p:nvPicPr>
        <p:blipFill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6" y="0"/>
            <a:ext cx="1097279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727905" y="5748934"/>
            <a:ext cx="118018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9072" y="757504"/>
            <a:ext cx="65880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9072" y="1753200"/>
            <a:ext cx="6588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109728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83430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04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4800248"/>
              </p:ext>
            </p:extLst>
          </p:nvPr>
        </p:nvGraphicFramePr>
        <p:xfrm>
          <a:off x="1589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170"/>
            <a:ext cx="9875520" cy="36576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062750"/>
            <a:ext cx="9875520" cy="469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202188"/>
            <a:ext cx="987552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937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841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467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5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9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351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1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385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924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4052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642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83430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315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1397217"/>
              </p:ext>
            </p:extLst>
          </p:nvPr>
        </p:nvGraphicFramePr>
        <p:xfrm>
          <a:off x="1636" y="1435"/>
          <a:ext cx="1626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6" y="1435"/>
                        <a:ext cx="1626" cy="14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92" y="457200"/>
            <a:ext cx="6496050" cy="4572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064363" y="1799130"/>
            <a:ext cx="5571672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64363" y="2769577"/>
            <a:ext cx="5571672" cy="645742"/>
          </a:xfrm>
          <a:prstGeom prst="rect">
            <a:avLst/>
          </a:prstGeom>
        </p:spPr>
        <p:txBody>
          <a:bodyPr lIns="90879" tIns="45426" rIns="90879" bIns="45426"/>
          <a:lstStyle>
            <a:lvl1pPr marL="0" indent="0" algn="l">
              <a:buNone/>
              <a:defRPr sz="2300"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  <a:lvl2pPr marL="0" indent="0" algn="l">
              <a:buNone/>
              <a:defRPr sz="1800">
                <a:solidFill>
                  <a:srgbClr val="404040"/>
                </a:solidFill>
              </a:defRPr>
            </a:lvl2pPr>
            <a:lvl3pPr marL="1043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312634" y="5702589"/>
            <a:ext cx="4660876" cy="708325"/>
            <a:chOff x="399256" y="6507163"/>
            <a:chExt cx="4544219" cy="783909"/>
          </a:xfrm>
        </p:grpSpPr>
        <p:sp>
          <p:nvSpPr>
            <p:cNvPr id="4" name="AutoShape 110"/>
            <p:cNvSpPr>
              <a:spLocks noChangeAspect="1" noChangeArrowheads="1" noTextEdit="1"/>
            </p:cNvSpPr>
            <p:nvPr userDrawn="1"/>
          </p:nvSpPr>
          <p:spPr bwMode="auto">
            <a:xfrm>
              <a:off x="520700" y="6507163"/>
              <a:ext cx="4422775" cy="684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" name="Rectangle 112"/>
            <p:cNvSpPr>
              <a:spLocks noChangeArrowheads="1"/>
            </p:cNvSpPr>
            <p:nvPr userDrawn="1"/>
          </p:nvSpPr>
          <p:spPr bwMode="auto">
            <a:xfrm>
              <a:off x="5334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6" name="Rectangle 113"/>
            <p:cNvSpPr>
              <a:spLocks noChangeArrowheads="1"/>
            </p:cNvSpPr>
            <p:nvPr userDrawn="1"/>
          </p:nvSpPr>
          <p:spPr bwMode="auto">
            <a:xfrm>
              <a:off x="7366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2" name="Rectangle 114"/>
            <p:cNvSpPr>
              <a:spLocks noChangeArrowheads="1"/>
            </p:cNvSpPr>
            <p:nvPr userDrawn="1"/>
          </p:nvSpPr>
          <p:spPr bwMode="auto">
            <a:xfrm>
              <a:off x="938213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3" name="Rectangle 115"/>
            <p:cNvSpPr>
              <a:spLocks noChangeArrowheads="1"/>
            </p:cNvSpPr>
            <p:nvPr userDrawn="1"/>
          </p:nvSpPr>
          <p:spPr bwMode="auto">
            <a:xfrm>
              <a:off x="399256" y="6746081"/>
              <a:ext cx="4159766" cy="544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question. The better the answer.</a:t>
              </a:r>
            </a:p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world works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16"/>
            <p:cNvSpPr>
              <a:spLocks noChangeArrowheads="1"/>
            </p:cNvSpPr>
            <p:nvPr userDrawn="1"/>
          </p:nvSpPr>
          <p:spPr bwMode="auto">
            <a:xfrm>
              <a:off x="64135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6" name="Rectangle 126"/>
            <p:cNvSpPr>
              <a:spLocks noChangeArrowheads="1"/>
            </p:cNvSpPr>
            <p:nvPr userDrawn="1"/>
          </p:nvSpPr>
          <p:spPr bwMode="auto">
            <a:xfrm>
              <a:off x="3470275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1" name="Rectangle 131"/>
            <p:cNvSpPr>
              <a:spLocks noChangeArrowheads="1"/>
            </p:cNvSpPr>
            <p:nvPr userDrawn="1"/>
          </p:nvSpPr>
          <p:spPr bwMode="auto">
            <a:xfrm>
              <a:off x="471170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2" name="Rectangle 132"/>
            <p:cNvSpPr>
              <a:spLocks noChangeArrowheads="1"/>
            </p:cNvSpPr>
            <p:nvPr userDrawn="1"/>
          </p:nvSpPr>
          <p:spPr bwMode="auto">
            <a:xfrm>
              <a:off x="4824413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4" name="Rectangle 144"/>
            <p:cNvSpPr>
              <a:spLocks noChangeArrowheads="1"/>
            </p:cNvSpPr>
            <p:nvPr userDrawn="1"/>
          </p:nvSpPr>
          <p:spPr bwMode="auto">
            <a:xfrm>
              <a:off x="2836864" y="69310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6" name="Rectangle 146"/>
            <p:cNvSpPr>
              <a:spLocks noChangeArrowheads="1"/>
            </p:cNvSpPr>
            <p:nvPr userDrawn="1"/>
          </p:nvSpPr>
          <p:spPr bwMode="auto">
            <a:xfrm>
              <a:off x="3040063" y="6931024"/>
              <a:ext cx="56264" cy="27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51" name="Group 50"/>
          <p:cNvGrpSpPr/>
          <p:nvPr userDrawn="1"/>
        </p:nvGrpSpPr>
        <p:grpSpPr>
          <a:xfrm>
            <a:off x="9250108" y="5340375"/>
            <a:ext cx="1185368" cy="1156150"/>
            <a:chOff x="9018588" y="5910263"/>
            <a:chExt cx="1155700" cy="1279526"/>
          </a:xfrm>
        </p:grpSpPr>
        <p:sp>
          <p:nvSpPr>
            <p:cNvPr id="48" name="AutoShape 148"/>
            <p:cNvSpPr>
              <a:spLocks noChangeAspect="1" noChangeArrowheads="1" noTextEdit="1"/>
            </p:cNvSpPr>
            <p:nvPr userDrawn="1"/>
          </p:nvSpPr>
          <p:spPr bwMode="auto">
            <a:xfrm>
              <a:off x="9018588" y="5910263"/>
              <a:ext cx="1155700" cy="127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49" name="Freeform 150"/>
            <p:cNvSpPr>
              <a:spLocks/>
            </p:cNvSpPr>
            <p:nvPr userDrawn="1"/>
          </p:nvSpPr>
          <p:spPr bwMode="auto">
            <a:xfrm>
              <a:off x="9018588" y="5910263"/>
              <a:ext cx="925513" cy="319088"/>
            </a:xfrm>
            <a:custGeom>
              <a:avLst/>
              <a:gdLst>
                <a:gd name="T0" fmla="*/ 2332 w 2332"/>
                <a:gd name="T1" fmla="*/ 0 h 1006"/>
                <a:gd name="T2" fmla="*/ 0 w 2332"/>
                <a:gd name="T3" fmla="*/ 1006 h 1006"/>
                <a:gd name="T4" fmla="*/ 2332 w 2332"/>
                <a:gd name="T5" fmla="*/ 519 h 1006"/>
                <a:gd name="T6" fmla="*/ 2332 w 2332"/>
                <a:gd name="T7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2" h="1006">
                  <a:moveTo>
                    <a:pt x="2332" y="0"/>
                  </a:moveTo>
                  <a:lnTo>
                    <a:pt x="0" y="1006"/>
                  </a:lnTo>
                  <a:lnTo>
                    <a:pt x="2332" y="519"/>
                  </a:lnTo>
                  <a:lnTo>
                    <a:pt x="2332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0" name="Freeform 151"/>
            <p:cNvSpPr>
              <a:spLocks noEditPoints="1"/>
            </p:cNvSpPr>
            <p:nvPr userDrawn="1"/>
          </p:nvSpPr>
          <p:spPr bwMode="auto">
            <a:xfrm>
              <a:off x="9018588" y="6362701"/>
              <a:ext cx="1155700" cy="827088"/>
            </a:xfrm>
            <a:custGeom>
              <a:avLst/>
              <a:gdLst>
                <a:gd name="T0" fmla="*/ 220 w 2912"/>
                <a:gd name="T1" fmla="*/ 1769 h 2606"/>
                <a:gd name="T2" fmla="*/ 238 w 2912"/>
                <a:gd name="T3" fmla="*/ 2000 h 2606"/>
                <a:gd name="T4" fmla="*/ 143 w 2912"/>
                <a:gd name="T5" fmla="*/ 2016 h 2606"/>
                <a:gd name="T6" fmla="*/ 331 w 2912"/>
                <a:gd name="T7" fmla="*/ 1962 h 2606"/>
                <a:gd name="T8" fmla="*/ 392 w 2912"/>
                <a:gd name="T9" fmla="*/ 2069 h 2606"/>
                <a:gd name="T10" fmla="*/ 1075 w 2912"/>
                <a:gd name="T11" fmla="*/ 1840 h 2606"/>
                <a:gd name="T12" fmla="*/ 1147 w 2912"/>
                <a:gd name="T13" fmla="*/ 1936 h 2606"/>
                <a:gd name="T14" fmla="*/ 657 w 2912"/>
                <a:gd name="T15" fmla="*/ 1722 h 2606"/>
                <a:gd name="T16" fmla="*/ 696 w 2912"/>
                <a:gd name="T17" fmla="*/ 1905 h 2606"/>
                <a:gd name="T18" fmla="*/ 811 w 2912"/>
                <a:gd name="T19" fmla="*/ 2065 h 2606"/>
                <a:gd name="T20" fmla="*/ 785 w 2912"/>
                <a:gd name="T21" fmla="*/ 1876 h 2606"/>
                <a:gd name="T22" fmla="*/ 1906 w 2912"/>
                <a:gd name="T23" fmla="*/ 2072 h 2606"/>
                <a:gd name="T24" fmla="*/ 2035 w 2912"/>
                <a:gd name="T25" fmla="*/ 1946 h 2606"/>
                <a:gd name="T26" fmla="*/ 1981 w 2912"/>
                <a:gd name="T27" fmla="*/ 1927 h 2606"/>
                <a:gd name="T28" fmla="*/ 1942 w 2912"/>
                <a:gd name="T29" fmla="*/ 1876 h 2606"/>
                <a:gd name="T30" fmla="*/ 1234 w 2912"/>
                <a:gd name="T31" fmla="*/ 1932 h 2606"/>
                <a:gd name="T32" fmla="*/ 1362 w 2912"/>
                <a:gd name="T33" fmla="*/ 2054 h 2606"/>
                <a:gd name="T34" fmla="*/ 1389 w 2912"/>
                <a:gd name="T35" fmla="*/ 2143 h 2606"/>
                <a:gd name="T36" fmla="*/ 1291 w 2912"/>
                <a:gd name="T37" fmla="*/ 1984 h 2606"/>
                <a:gd name="T38" fmla="*/ 1629 w 2912"/>
                <a:gd name="T39" fmla="*/ 1868 h 2606"/>
                <a:gd name="T40" fmla="*/ 1539 w 2912"/>
                <a:gd name="T41" fmla="*/ 1980 h 2606"/>
                <a:gd name="T42" fmla="*/ 1718 w 2912"/>
                <a:gd name="T43" fmla="*/ 1905 h 2606"/>
                <a:gd name="T44" fmla="*/ 1590 w 2912"/>
                <a:gd name="T45" fmla="*/ 1990 h 2606"/>
                <a:gd name="T46" fmla="*/ 1611 w 2912"/>
                <a:gd name="T47" fmla="*/ 2024 h 2606"/>
                <a:gd name="T48" fmla="*/ 2113 w 2912"/>
                <a:gd name="T49" fmla="*/ 1968 h 2606"/>
                <a:gd name="T50" fmla="*/ 2100 w 2912"/>
                <a:gd name="T51" fmla="*/ 1841 h 2606"/>
                <a:gd name="T52" fmla="*/ 2160 w 2912"/>
                <a:gd name="T53" fmla="*/ 2079 h 2606"/>
                <a:gd name="T54" fmla="*/ 2189 w 2912"/>
                <a:gd name="T55" fmla="*/ 1904 h 2606"/>
                <a:gd name="T56" fmla="*/ 2742 w 2912"/>
                <a:gd name="T57" fmla="*/ 1949 h 2606"/>
                <a:gd name="T58" fmla="*/ 2575 w 2912"/>
                <a:gd name="T59" fmla="*/ 1875 h 2606"/>
                <a:gd name="T60" fmla="*/ 2689 w 2912"/>
                <a:gd name="T61" fmla="*/ 2072 h 2606"/>
                <a:gd name="T62" fmla="*/ 2488 w 2912"/>
                <a:gd name="T63" fmla="*/ 1986 h 2606"/>
                <a:gd name="T64" fmla="*/ 2456 w 2912"/>
                <a:gd name="T65" fmla="*/ 2064 h 2606"/>
                <a:gd name="T66" fmla="*/ 2324 w 2912"/>
                <a:gd name="T67" fmla="*/ 2074 h 2606"/>
                <a:gd name="T68" fmla="*/ 2353 w 2912"/>
                <a:gd name="T69" fmla="*/ 2018 h 2606"/>
                <a:gd name="T70" fmla="*/ 2827 w 2912"/>
                <a:gd name="T71" fmla="*/ 1825 h 2606"/>
                <a:gd name="T72" fmla="*/ 919 w 2912"/>
                <a:gd name="T73" fmla="*/ 2072 h 2606"/>
                <a:gd name="T74" fmla="*/ 2278 w 2912"/>
                <a:gd name="T75" fmla="*/ 2305 h 2606"/>
                <a:gd name="T76" fmla="*/ 2367 w 2912"/>
                <a:gd name="T77" fmla="*/ 2508 h 2606"/>
                <a:gd name="T78" fmla="*/ 2344 w 2912"/>
                <a:gd name="T79" fmla="*/ 2311 h 2606"/>
                <a:gd name="T80" fmla="*/ 591 w 2912"/>
                <a:gd name="T81" fmla="*/ 2315 h 2606"/>
                <a:gd name="T82" fmla="*/ 634 w 2912"/>
                <a:gd name="T83" fmla="*/ 2327 h 2606"/>
                <a:gd name="T84" fmla="*/ 190 w 2912"/>
                <a:gd name="T85" fmla="*/ 2379 h 2606"/>
                <a:gd name="T86" fmla="*/ 292 w 2912"/>
                <a:gd name="T87" fmla="*/ 2422 h 2606"/>
                <a:gd name="T88" fmla="*/ 475 w 2912"/>
                <a:gd name="T89" fmla="*/ 2422 h 2606"/>
                <a:gd name="T90" fmla="*/ 353 w 2912"/>
                <a:gd name="T91" fmla="*/ 2434 h 2606"/>
                <a:gd name="T92" fmla="*/ 414 w 2912"/>
                <a:gd name="T93" fmla="*/ 2434 h 2606"/>
                <a:gd name="T94" fmla="*/ 2072 w 2912"/>
                <a:gd name="T95" fmla="*/ 2273 h 2606"/>
                <a:gd name="T96" fmla="*/ 1506 w 2912"/>
                <a:gd name="T97" fmla="*/ 2258 h 2606"/>
                <a:gd name="T98" fmla="*/ 1827 w 2912"/>
                <a:gd name="T99" fmla="*/ 2280 h 2606"/>
                <a:gd name="T100" fmla="*/ 1888 w 2912"/>
                <a:gd name="T101" fmla="*/ 2511 h 2606"/>
                <a:gd name="T102" fmla="*/ 1943 w 2912"/>
                <a:gd name="T103" fmla="*/ 2274 h 2606"/>
                <a:gd name="T104" fmla="*/ 1888 w 2912"/>
                <a:gd name="T105" fmla="*/ 2310 h 2606"/>
                <a:gd name="T106" fmla="*/ 723 w 2912"/>
                <a:gd name="T107" fmla="*/ 2155 h 2606"/>
                <a:gd name="T108" fmla="*/ 1133 w 2912"/>
                <a:gd name="T109" fmla="*/ 2269 h 2606"/>
                <a:gd name="T110" fmla="*/ 1045 w 2912"/>
                <a:gd name="T111" fmla="*/ 2324 h 2606"/>
                <a:gd name="T112" fmla="*/ 1207 w 2912"/>
                <a:gd name="T113" fmla="*/ 2315 h 2606"/>
                <a:gd name="T114" fmla="*/ 1306 w 2912"/>
                <a:gd name="T115" fmla="*/ 2505 h 2606"/>
                <a:gd name="T116" fmla="*/ 1323 w 2912"/>
                <a:gd name="T117" fmla="*/ 2599 h 2606"/>
                <a:gd name="T118" fmla="*/ 1277 w 2912"/>
                <a:gd name="T119" fmla="*/ 2451 h 2606"/>
                <a:gd name="T120" fmla="*/ 937 w 2912"/>
                <a:gd name="T121" fmla="*/ 2367 h 2606"/>
                <a:gd name="T122" fmla="*/ 375 w 2912"/>
                <a:gd name="T123" fmla="*/ 1073 h 2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12" h="2606">
                  <a:moveTo>
                    <a:pt x="242" y="1964"/>
                  </a:moveTo>
                  <a:lnTo>
                    <a:pt x="242" y="1964"/>
                  </a:lnTo>
                  <a:lnTo>
                    <a:pt x="242" y="1956"/>
                  </a:lnTo>
                  <a:lnTo>
                    <a:pt x="241" y="1948"/>
                  </a:lnTo>
                  <a:lnTo>
                    <a:pt x="238" y="1934"/>
                  </a:lnTo>
                  <a:lnTo>
                    <a:pt x="233" y="1921"/>
                  </a:lnTo>
                  <a:lnTo>
                    <a:pt x="227" y="1911"/>
                  </a:lnTo>
                  <a:lnTo>
                    <a:pt x="220" y="1904"/>
                  </a:lnTo>
                  <a:lnTo>
                    <a:pt x="212" y="1898"/>
                  </a:lnTo>
                  <a:lnTo>
                    <a:pt x="206" y="1893"/>
                  </a:lnTo>
                  <a:lnTo>
                    <a:pt x="200" y="1889"/>
                  </a:lnTo>
                  <a:lnTo>
                    <a:pt x="200" y="1889"/>
                  </a:lnTo>
                  <a:lnTo>
                    <a:pt x="207" y="1883"/>
                  </a:lnTo>
                  <a:lnTo>
                    <a:pt x="213" y="1877"/>
                  </a:lnTo>
                  <a:lnTo>
                    <a:pt x="219" y="1870"/>
                  </a:lnTo>
                  <a:lnTo>
                    <a:pt x="224" y="1861"/>
                  </a:lnTo>
                  <a:lnTo>
                    <a:pt x="228" y="1852"/>
                  </a:lnTo>
                  <a:lnTo>
                    <a:pt x="230" y="1843"/>
                  </a:lnTo>
                  <a:lnTo>
                    <a:pt x="232" y="1833"/>
                  </a:lnTo>
                  <a:lnTo>
                    <a:pt x="232" y="1822"/>
                  </a:lnTo>
                  <a:lnTo>
                    <a:pt x="232" y="1822"/>
                  </a:lnTo>
                  <a:lnTo>
                    <a:pt x="232" y="1812"/>
                  </a:lnTo>
                  <a:lnTo>
                    <a:pt x="231" y="1802"/>
                  </a:lnTo>
                  <a:lnTo>
                    <a:pt x="229" y="1793"/>
                  </a:lnTo>
                  <a:lnTo>
                    <a:pt x="227" y="1785"/>
                  </a:lnTo>
                  <a:lnTo>
                    <a:pt x="224" y="1776"/>
                  </a:lnTo>
                  <a:lnTo>
                    <a:pt x="220" y="1769"/>
                  </a:lnTo>
                  <a:lnTo>
                    <a:pt x="214" y="1763"/>
                  </a:lnTo>
                  <a:lnTo>
                    <a:pt x="209" y="1756"/>
                  </a:lnTo>
                  <a:lnTo>
                    <a:pt x="203" y="1752"/>
                  </a:lnTo>
                  <a:lnTo>
                    <a:pt x="197" y="1747"/>
                  </a:lnTo>
                  <a:lnTo>
                    <a:pt x="189" y="1743"/>
                  </a:lnTo>
                  <a:lnTo>
                    <a:pt x="181" y="1739"/>
                  </a:lnTo>
                  <a:lnTo>
                    <a:pt x="173" y="1737"/>
                  </a:lnTo>
                  <a:lnTo>
                    <a:pt x="163" y="1734"/>
                  </a:lnTo>
                  <a:lnTo>
                    <a:pt x="154" y="1734"/>
                  </a:lnTo>
                  <a:lnTo>
                    <a:pt x="144" y="1733"/>
                  </a:lnTo>
                  <a:lnTo>
                    <a:pt x="21" y="1733"/>
                  </a:lnTo>
                  <a:lnTo>
                    <a:pt x="21" y="2072"/>
                  </a:lnTo>
                  <a:lnTo>
                    <a:pt x="143" y="2072"/>
                  </a:lnTo>
                  <a:lnTo>
                    <a:pt x="143" y="2072"/>
                  </a:lnTo>
                  <a:lnTo>
                    <a:pt x="154" y="2072"/>
                  </a:lnTo>
                  <a:lnTo>
                    <a:pt x="164" y="2071"/>
                  </a:lnTo>
                  <a:lnTo>
                    <a:pt x="175" y="2069"/>
                  </a:lnTo>
                  <a:lnTo>
                    <a:pt x="184" y="2065"/>
                  </a:lnTo>
                  <a:lnTo>
                    <a:pt x="194" y="2061"/>
                  </a:lnTo>
                  <a:lnTo>
                    <a:pt x="202" y="2056"/>
                  </a:lnTo>
                  <a:lnTo>
                    <a:pt x="209" y="2050"/>
                  </a:lnTo>
                  <a:lnTo>
                    <a:pt x="215" y="2044"/>
                  </a:lnTo>
                  <a:lnTo>
                    <a:pt x="222" y="2037"/>
                  </a:lnTo>
                  <a:lnTo>
                    <a:pt x="227" y="2028"/>
                  </a:lnTo>
                  <a:lnTo>
                    <a:pt x="232" y="2020"/>
                  </a:lnTo>
                  <a:lnTo>
                    <a:pt x="235" y="2010"/>
                  </a:lnTo>
                  <a:lnTo>
                    <a:pt x="238" y="2000"/>
                  </a:lnTo>
                  <a:lnTo>
                    <a:pt x="240" y="1989"/>
                  </a:lnTo>
                  <a:lnTo>
                    <a:pt x="241" y="1977"/>
                  </a:lnTo>
                  <a:lnTo>
                    <a:pt x="242" y="1964"/>
                  </a:lnTo>
                  <a:lnTo>
                    <a:pt x="242" y="1964"/>
                  </a:lnTo>
                  <a:close/>
                  <a:moveTo>
                    <a:pt x="143" y="2016"/>
                  </a:moveTo>
                  <a:lnTo>
                    <a:pt x="74" y="2016"/>
                  </a:lnTo>
                  <a:lnTo>
                    <a:pt x="74" y="1919"/>
                  </a:lnTo>
                  <a:lnTo>
                    <a:pt x="143" y="1919"/>
                  </a:lnTo>
                  <a:lnTo>
                    <a:pt x="143" y="1919"/>
                  </a:lnTo>
                  <a:lnTo>
                    <a:pt x="153" y="1920"/>
                  </a:lnTo>
                  <a:lnTo>
                    <a:pt x="161" y="1921"/>
                  </a:lnTo>
                  <a:lnTo>
                    <a:pt x="169" y="1925"/>
                  </a:lnTo>
                  <a:lnTo>
                    <a:pt x="175" y="1931"/>
                  </a:lnTo>
                  <a:lnTo>
                    <a:pt x="180" y="1937"/>
                  </a:lnTo>
                  <a:lnTo>
                    <a:pt x="183" y="1946"/>
                  </a:lnTo>
                  <a:lnTo>
                    <a:pt x="185" y="1956"/>
                  </a:lnTo>
                  <a:lnTo>
                    <a:pt x="186" y="1967"/>
                  </a:lnTo>
                  <a:lnTo>
                    <a:pt x="186" y="1967"/>
                  </a:lnTo>
                  <a:lnTo>
                    <a:pt x="185" y="1978"/>
                  </a:lnTo>
                  <a:lnTo>
                    <a:pt x="183" y="1988"/>
                  </a:lnTo>
                  <a:lnTo>
                    <a:pt x="179" y="1996"/>
                  </a:lnTo>
                  <a:lnTo>
                    <a:pt x="175" y="2002"/>
                  </a:lnTo>
                  <a:lnTo>
                    <a:pt x="169" y="2009"/>
                  </a:lnTo>
                  <a:lnTo>
                    <a:pt x="161" y="2012"/>
                  </a:lnTo>
                  <a:lnTo>
                    <a:pt x="152" y="2015"/>
                  </a:lnTo>
                  <a:lnTo>
                    <a:pt x="143" y="2016"/>
                  </a:lnTo>
                  <a:lnTo>
                    <a:pt x="143" y="2016"/>
                  </a:lnTo>
                  <a:close/>
                  <a:moveTo>
                    <a:pt x="142" y="1863"/>
                  </a:moveTo>
                  <a:lnTo>
                    <a:pt x="74" y="1863"/>
                  </a:lnTo>
                  <a:lnTo>
                    <a:pt x="74" y="1791"/>
                  </a:lnTo>
                  <a:lnTo>
                    <a:pt x="139" y="1791"/>
                  </a:lnTo>
                  <a:lnTo>
                    <a:pt x="139" y="1791"/>
                  </a:lnTo>
                  <a:lnTo>
                    <a:pt x="148" y="1792"/>
                  </a:lnTo>
                  <a:lnTo>
                    <a:pt x="156" y="1793"/>
                  </a:lnTo>
                  <a:lnTo>
                    <a:pt x="162" y="1796"/>
                  </a:lnTo>
                  <a:lnTo>
                    <a:pt x="168" y="1800"/>
                  </a:lnTo>
                  <a:lnTo>
                    <a:pt x="172" y="1806"/>
                  </a:lnTo>
                  <a:lnTo>
                    <a:pt x="175" y="1812"/>
                  </a:lnTo>
                  <a:lnTo>
                    <a:pt x="176" y="1819"/>
                  </a:lnTo>
                  <a:lnTo>
                    <a:pt x="177" y="1828"/>
                  </a:lnTo>
                  <a:lnTo>
                    <a:pt x="177" y="1828"/>
                  </a:lnTo>
                  <a:lnTo>
                    <a:pt x="177" y="1834"/>
                  </a:lnTo>
                  <a:lnTo>
                    <a:pt x="176" y="1840"/>
                  </a:lnTo>
                  <a:lnTo>
                    <a:pt x="174" y="1846"/>
                  </a:lnTo>
                  <a:lnTo>
                    <a:pt x="171" y="1851"/>
                  </a:lnTo>
                  <a:lnTo>
                    <a:pt x="165" y="1856"/>
                  </a:lnTo>
                  <a:lnTo>
                    <a:pt x="159" y="1860"/>
                  </a:lnTo>
                  <a:lnTo>
                    <a:pt x="152" y="1862"/>
                  </a:lnTo>
                  <a:lnTo>
                    <a:pt x="142" y="1863"/>
                  </a:lnTo>
                  <a:lnTo>
                    <a:pt x="142" y="1863"/>
                  </a:lnTo>
                  <a:close/>
                  <a:moveTo>
                    <a:pt x="279" y="1965"/>
                  </a:moveTo>
                  <a:lnTo>
                    <a:pt x="279" y="1825"/>
                  </a:lnTo>
                  <a:lnTo>
                    <a:pt x="331" y="1825"/>
                  </a:lnTo>
                  <a:lnTo>
                    <a:pt x="331" y="1962"/>
                  </a:lnTo>
                  <a:lnTo>
                    <a:pt x="331" y="1962"/>
                  </a:lnTo>
                  <a:lnTo>
                    <a:pt x="331" y="1975"/>
                  </a:lnTo>
                  <a:lnTo>
                    <a:pt x="333" y="1989"/>
                  </a:lnTo>
                  <a:lnTo>
                    <a:pt x="336" y="1999"/>
                  </a:lnTo>
                  <a:lnTo>
                    <a:pt x="340" y="2007"/>
                  </a:lnTo>
                  <a:lnTo>
                    <a:pt x="346" y="2013"/>
                  </a:lnTo>
                  <a:lnTo>
                    <a:pt x="352" y="2018"/>
                  </a:lnTo>
                  <a:lnTo>
                    <a:pt x="360" y="2021"/>
                  </a:lnTo>
                  <a:lnTo>
                    <a:pt x="369" y="2022"/>
                  </a:lnTo>
                  <a:lnTo>
                    <a:pt x="369" y="2022"/>
                  </a:lnTo>
                  <a:lnTo>
                    <a:pt x="379" y="2021"/>
                  </a:lnTo>
                  <a:lnTo>
                    <a:pt x="386" y="2018"/>
                  </a:lnTo>
                  <a:lnTo>
                    <a:pt x="393" y="2013"/>
                  </a:lnTo>
                  <a:lnTo>
                    <a:pt x="399" y="2007"/>
                  </a:lnTo>
                  <a:lnTo>
                    <a:pt x="403" y="1999"/>
                  </a:lnTo>
                  <a:lnTo>
                    <a:pt x="406" y="1988"/>
                  </a:lnTo>
                  <a:lnTo>
                    <a:pt x="408" y="1975"/>
                  </a:lnTo>
                  <a:lnTo>
                    <a:pt x="408" y="1962"/>
                  </a:lnTo>
                  <a:lnTo>
                    <a:pt x="408" y="1825"/>
                  </a:lnTo>
                  <a:lnTo>
                    <a:pt x="460" y="1825"/>
                  </a:lnTo>
                  <a:lnTo>
                    <a:pt x="460" y="2072"/>
                  </a:lnTo>
                  <a:lnTo>
                    <a:pt x="408" y="2072"/>
                  </a:lnTo>
                  <a:lnTo>
                    <a:pt x="408" y="2053"/>
                  </a:lnTo>
                  <a:lnTo>
                    <a:pt x="408" y="2053"/>
                  </a:lnTo>
                  <a:lnTo>
                    <a:pt x="404" y="2059"/>
                  </a:lnTo>
                  <a:lnTo>
                    <a:pt x="398" y="2064"/>
                  </a:lnTo>
                  <a:lnTo>
                    <a:pt x="392" y="2069"/>
                  </a:lnTo>
                  <a:lnTo>
                    <a:pt x="386" y="2071"/>
                  </a:lnTo>
                  <a:lnTo>
                    <a:pt x="380" y="2075"/>
                  </a:lnTo>
                  <a:lnTo>
                    <a:pt x="373" y="2076"/>
                  </a:lnTo>
                  <a:lnTo>
                    <a:pt x="365" y="2077"/>
                  </a:lnTo>
                  <a:lnTo>
                    <a:pt x="358" y="2079"/>
                  </a:lnTo>
                  <a:lnTo>
                    <a:pt x="358" y="2079"/>
                  </a:lnTo>
                  <a:lnTo>
                    <a:pt x="346" y="2077"/>
                  </a:lnTo>
                  <a:lnTo>
                    <a:pt x="335" y="2075"/>
                  </a:lnTo>
                  <a:lnTo>
                    <a:pt x="326" y="2071"/>
                  </a:lnTo>
                  <a:lnTo>
                    <a:pt x="316" y="2066"/>
                  </a:lnTo>
                  <a:lnTo>
                    <a:pt x="309" y="2060"/>
                  </a:lnTo>
                  <a:lnTo>
                    <a:pt x="303" y="2054"/>
                  </a:lnTo>
                  <a:lnTo>
                    <a:pt x="298" y="2045"/>
                  </a:lnTo>
                  <a:lnTo>
                    <a:pt x="292" y="2037"/>
                  </a:lnTo>
                  <a:lnTo>
                    <a:pt x="289" y="2028"/>
                  </a:lnTo>
                  <a:lnTo>
                    <a:pt x="286" y="2020"/>
                  </a:lnTo>
                  <a:lnTo>
                    <a:pt x="282" y="2000"/>
                  </a:lnTo>
                  <a:lnTo>
                    <a:pt x="280" y="1981"/>
                  </a:lnTo>
                  <a:lnTo>
                    <a:pt x="279" y="1965"/>
                  </a:lnTo>
                  <a:lnTo>
                    <a:pt x="279" y="1965"/>
                  </a:lnTo>
                  <a:close/>
                  <a:moveTo>
                    <a:pt x="1070" y="2072"/>
                  </a:moveTo>
                  <a:lnTo>
                    <a:pt x="1018" y="2072"/>
                  </a:lnTo>
                  <a:lnTo>
                    <a:pt x="1018" y="1825"/>
                  </a:lnTo>
                  <a:lnTo>
                    <a:pt x="1070" y="1825"/>
                  </a:lnTo>
                  <a:lnTo>
                    <a:pt x="1070" y="1846"/>
                  </a:lnTo>
                  <a:lnTo>
                    <a:pt x="1070" y="1846"/>
                  </a:lnTo>
                  <a:lnTo>
                    <a:pt x="1075" y="1840"/>
                  </a:lnTo>
                  <a:lnTo>
                    <a:pt x="1080" y="1834"/>
                  </a:lnTo>
                  <a:lnTo>
                    <a:pt x="1087" y="1830"/>
                  </a:lnTo>
                  <a:lnTo>
                    <a:pt x="1093" y="1827"/>
                  </a:lnTo>
                  <a:lnTo>
                    <a:pt x="1100" y="1823"/>
                  </a:lnTo>
                  <a:lnTo>
                    <a:pt x="1106" y="1822"/>
                  </a:lnTo>
                  <a:lnTo>
                    <a:pt x="1115" y="1820"/>
                  </a:lnTo>
                  <a:lnTo>
                    <a:pt x="1122" y="1819"/>
                  </a:lnTo>
                  <a:lnTo>
                    <a:pt x="1122" y="1819"/>
                  </a:lnTo>
                  <a:lnTo>
                    <a:pt x="1131" y="1820"/>
                  </a:lnTo>
                  <a:lnTo>
                    <a:pt x="1140" y="1822"/>
                  </a:lnTo>
                  <a:lnTo>
                    <a:pt x="1148" y="1824"/>
                  </a:lnTo>
                  <a:lnTo>
                    <a:pt x="1155" y="1827"/>
                  </a:lnTo>
                  <a:lnTo>
                    <a:pt x="1163" y="1830"/>
                  </a:lnTo>
                  <a:lnTo>
                    <a:pt x="1169" y="1836"/>
                  </a:lnTo>
                  <a:lnTo>
                    <a:pt x="1174" y="1841"/>
                  </a:lnTo>
                  <a:lnTo>
                    <a:pt x="1179" y="1849"/>
                  </a:lnTo>
                  <a:lnTo>
                    <a:pt x="1184" y="1856"/>
                  </a:lnTo>
                  <a:lnTo>
                    <a:pt x="1187" y="1865"/>
                  </a:lnTo>
                  <a:lnTo>
                    <a:pt x="1192" y="1873"/>
                  </a:lnTo>
                  <a:lnTo>
                    <a:pt x="1194" y="1883"/>
                  </a:lnTo>
                  <a:lnTo>
                    <a:pt x="1196" y="1894"/>
                  </a:lnTo>
                  <a:lnTo>
                    <a:pt x="1198" y="1906"/>
                  </a:lnTo>
                  <a:lnTo>
                    <a:pt x="1199" y="1919"/>
                  </a:lnTo>
                  <a:lnTo>
                    <a:pt x="1199" y="1932"/>
                  </a:lnTo>
                  <a:lnTo>
                    <a:pt x="1199" y="2072"/>
                  </a:lnTo>
                  <a:lnTo>
                    <a:pt x="1147" y="2072"/>
                  </a:lnTo>
                  <a:lnTo>
                    <a:pt x="1147" y="1936"/>
                  </a:lnTo>
                  <a:lnTo>
                    <a:pt x="1147" y="1936"/>
                  </a:lnTo>
                  <a:lnTo>
                    <a:pt x="1147" y="1921"/>
                  </a:lnTo>
                  <a:lnTo>
                    <a:pt x="1145" y="1909"/>
                  </a:lnTo>
                  <a:lnTo>
                    <a:pt x="1142" y="1899"/>
                  </a:lnTo>
                  <a:lnTo>
                    <a:pt x="1138" y="1890"/>
                  </a:lnTo>
                  <a:lnTo>
                    <a:pt x="1132" y="1884"/>
                  </a:lnTo>
                  <a:lnTo>
                    <a:pt x="1126" y="1879"/>
                  </a:lnTo>
                  <a:lnTo>
                    <a:pt x="1119" y="1877"/>
                  </a:lnTo>
                  <a:lnTo>
                    <a:pt x="1109" y="1876"/>
                  </a:lnTo>
                  <a:lnTo>
                    <a:pt x="1109" y="1876"/>
                  </a:lnTo>
                  <a:lnTo>
                    <a:pt x="1100" y="1877"/>
                  </a:lnTo>
                  <a:lnTo>
                    <a:pt x="1092" y="1879"/>
                  </a:lnTo>
                  <a:lnTo>
                    <a:pt x="1085" y="1884"/>
                  </a:lnTo>
                  <a:lnTo>
                    <a:pt x="1080" y="1890"/>
                  </a:lnTo>
                  <a:lnTo>
                    <a:pt x="1075" y="1899"/>
                  </a:lnTo>
                  <a:lnTo>
                    <a:pt x="1072" y="1910"/>
                  </a:lnTo>
                  <a:lnTo>
                    <a:pt x="1070" y="1922"/>
                  </a:lnTo>
                  <a:lnTo>
                    <a:pt x="1070" y="1936"/>
                  </a:lnTo>
                  <a:lnTo>
                    <a:pt x="1070" y="2072"/>
                  </a:lnTo>
                  <a:close/>
                  <a:moveTo>
                    <a:pt x="559" y="1948"/>
                  </a:moveTo>
                  <a:lnTo>
                    <a:pt x="559" y="2072"/>
                  </a:lnTo>
                  <a:lnTo>
                    <a:pt x="507" y="2072"/>
                  </a:lnTo>
                  <a:lnTo>
                    <a:pt x="507" y="1825"/>
                  </a:lnTo>
                  <a:lnTo>
                    <a:pt x="559" y="1825"/>
                  </a:lnTo>
                  <a:lnTo>
                    <a:pt x="559" y="1948"/>
                  </a:lnTo>
                  <a:close/>
                  <a:moveTo>
                    <a:pt x="605" y="1753"/>
                  </a:moveTo>
                  <a:lnTo>
                    <a:pt x="657" y="1722"/>
                  </a:lnTo>
                  <a:lnTo>
                    <a:pt x="657" y="1946"/>
                  </a:lnTo>
                  <a:lnTo>
                    <a:pt x="657" y="2072"/>
                  </a:lnTo>
                  <a:lnTo>
                    <a:pt x="605" y="2072"/>
                  </a:lnTo>
                  <a:lnTo>
                    <a:pt x="605" y="1753"/>
                  </a:lnTo>
                  <a:close/>
                  <a:moveTo>
                    <a:pt x="821" y="1843"/>
                  </a:moveTo>
                  <a:lnTo>
                    <a:pt x="821" y="1843"/>
                  </a:lnTo>
                  <a:lnTo>
                    <a:pt x="817" y="1836"/>
                  </a:lnTo>
                  <a:lnTo>
                    <a:pt x="812" y="1833"/>
                  </a:lnTo>
                  <a:lnTo>
                    <a:pt x="806" y="1828"/>
                  </a:lnTo>
                  <a:lnTo>
                    <a:pt x="800" y="1825"/>
                  </a:lnTo>
                  <a:lnTo>
                    <a:pt x="794" y="1823"/>
                  </a:lnTo>
                  <a:lnTo>
                    <a:pt x="788" y="1820"/>
                  </a:lnTo>
                  <a:lnTo>
                    <a:pt x="775" y="1819"/>
                  </a:lnTo>
                  <a:lnTo>
                    <a:pt x="775" y="1819"/>
                  </a:lnTo>
                  <a:lnTo>
                    <a:pt x="766" y="1820"/>
                  </a:lnTo>
                  <a:lnTo>
                    <a:pt x="757" y="1822"/>
                  </a:lnTo>
                  <a:lnTo>
                    <a:pt x="748" y="1824"/>
                  </a:lnTo>
                  <a:lnTo>
                    <a:pt x="741" y="1828"/>
                  </a:lnTo>
                  <a:lnTo>
                    <a:pt x="734" y="1833"/>
                  </a:lnTo>
                  <a:lnTo>
                    <a:pt x="726" y="1839"/>
                  </a:lnTo>
                  <a:lnTo>
                    <a:pt x="720" y="1846"/>
                  </a:lnTo>
                  <a:lnTo>
                    <a:pt x="715" y="1854"/>
                  </a:lnTo>
                  <a:lnTo>
                    <a:pt x="710" y="1862"/>
                  </a:lnTo>
                  <a:lnTo>
                    <a:pt x="706" y="1872"/>
                  </a:lnTo>
                  <a:lnTo>
                    <a:pt x="701" y="1882"/>
                  </a:lnTo>
                  <a:lnTo>
                    <a:pt x="698" y="1893"/>
                  </a:lnTo>
                  <a:lnTo>
                    <a:pt x="696" y="1905"/>
                  </a:lnTo>
                  <a:lnTo>
                    <a:pt x="694" y="1919"/>
                  </a:lnTo>
                  <a:lnTo>
                    <a:pt x="693" y="1932"/>
                  </a:lnTo>
                  <a:lnTo>
                    <a:pt x="693" y="1946"/>
                  </a:lnTo>
                  <a:lnTo>
                    <a:pt x="693" y="1946"/>
                  </a:lnTo>
                  <a:lnTo>
                    <a:pt x="693" y="1962"/>
                  </a:lnTo>
                  <a:lnTo>
                    <a:pt x="694" y="1975"/>
                  </a:lnTo>
                  <a:lnTo>
                    <a:pt x="696" y="1989"/>
                  </a:lnTo>
                  <a:lnTo>
                    <a:pt x="698" y="2001"/>
                  </a:lnTo>
                  <a:lnTo>
                    <a:pt x="701" y="2013"/>
                  </a:lnTo>
                  <a:lnTo>
                    <a:pt x="705" y="2024"/>
                  </a:lnTo>
                  <a:lnTo>
                    <a:pt x="709" y="2034"/>
                  </a:lnTo>
                  <a:lnTo>
                    <a:pt x="714" y="2043"/>
                  </a:lnTo>
                  <a:lnTo>
                    <a:pt x="720" y="2052"/>
                  </a:lnTo>
                  <a:lnTo>
                    <a:pt x="725" y="2058"/>
                  </a:lnTo>
                  <a:lnTo>
                    <a:pt x="733" y="2064"/>
                  </a:lnTo>
                  <a:lnTo>
                    <a:pt x="740" y="2069"/>
                  </a:lnTo>
                  <a:lnTo>
                    <a:pt x="747" y="2072"/>
                  </a:lnTo>
                  <a:lnTo>
                    <a:pt x="756" y="2076"/>
                  </a:lnTo>
                  <a:lnTo>
                    <a:pt x="765" y="2077"/>
                  </a:lnTo>
                  <a:lnTo>
                    <a:pt x="774" y="2079"/>
                  </a:lnTo>
                  <a:lnTo>
                    <a:pt x="774" y="2079"/>
                  </a:lnTo>
                  <a:lnTo>
                    <a:pt x="781" y="2077"/>
                  </a:lnTo>
                  <a:lnTo>
                    <a:pt x="787" y="2076"/>
                  </a:lnTo>
                  <a:lnTo>
                    <a:pt x="793" y="2075"/>
                  </a:lnTo>
                  <a:lnTo>
                    <a:pt x="799" y="2072"/>
                  </a:lnTo>
                  <a:lnTo>
                    <a:pt x="804" y="2069"/>
                  </a:lnTo>
                  <a:lnTo>
                    <a:pt x="811" y="2065"/>
                  </a:lnTo>
                  <a:lnTo>
                    <a:pt x="816" y="2060"/>
                  </a:lnTo>
                  <a:lnTo>
                    <a:pt x="821" y="2054"/>
                  </a:lnTo>
                  <a:lnTo>
                    <a:pt x="821" y="2072"/>
                  </a:lnTo>
                  <a:lnTo>
                    <a:pt x="873" y="2072"/>
                  </a:lnTo>
                  <a:lnTo>
                    <a:pt x="873" y="1722"/>
                  </a:lnTo>
                  <a:lnTo>
                    <a:pt x="821" y="1753"/>
                  </a:lnTo>
                  <a:lnTo>
                    <a:pt x="821" y="1843"/>
                  </a:lnTo>
                  <a:close/>
                  <a:moveTo>
                    <a:pt x="785" y="2022"/>
                  </a:moveTo>
                  <a:lnTo>
                    <a:pt x="785" y="2022"/>
                  </a:lnTo>
                  <a:lnTo>
                    <a:pt x="778" y="2021"/>
                  </a:lnTo>
                  <a:lnTo>
                    <a:pt x="771" y="2018"/>
                  </a:lnTo>
                  <a:lnTo>
                    <a:pt x="765" y="2015"/>
                  </a:lnTo>
                  <a:lnTo>
                    <a:pt x="759" y="2007"/>
                  </a:lnTo>
                  <a:lnTo>
                    <a:pt x="753" y="1997"/>
                  </a:lnTo>
                  <a:lnTo>
                    <a:pt x="749" y="1984"/>
                  </a:lnTo>
                  <a:lnTo>
                    <a:pt x="746" y="1967"/>
                  </a:lnTo>
                  <a:lnTo>
                    <a:pt x="745" y="1945"/>
                  </a:lnTo>
                  <a:lnTo>
                    <a:pt x="745" y="1945"/>
                  </a:lnTo>
                  <a:lnTo>
                    <a:pt x="746" y="1925"/>
                  </a:lnTo>
                  <a:lnTo>
                    <a:pt x="749" y="1910"/>
                  </a:lnTo>
                  <a:lnTo>
                    <a:pt x="753" y="1898"/>
                  </a:lnTo>
                  <a:lnTo>
                    <a:pt x="759" y="1889"/>
                  </a:lnTo>
                  <a:lnTo>
                    <a:pt x="764" y="1882"/>
                  </a:lnTo>
                  <a:lnTo>
                    <a:pt x="771" y="1878"/>
                  </a:lnTo>
                  <a:lnTo>
                    <a:pt x="777" y="1876"/>
                  </a:lnTo>
                  <a:lnTo>
                    <a:pt x="785" y="1876"/>
                  </a:lnTo>
                  <a:lnTo>
                    <a:pt x="785" y="1876"/>
                  </a:lnTo>
                  <a:lnTo>
                    <a:pt x="791" y="1876"/>
                  </a:lnTo>
                  <a:lnTo>
                    <a:pt x="797" y="1878"/>
                  </a:lnTo>
                  <a:lnTo>
                    <a:pt x="803" y="1881"/>
                  </a:lnTo>
                  <a:lnTo>
                    <a:pt x="808" y="1884"/>
                  </a:lnTo>
                  <a:lnTo>
                    <a:pt x="812" y="1888"/>
                  </a:lnTo>
                  <a:lnTo>
                    <a:pt x="816" y="1892"/>
                  </a:lnTo>
                  <a:lnTo>
                    <a:pt x="821" y="1900"/>
                  </a:lnTo>
                  <a:lnTo>
                    <a:pt x="821" y="1997"/>
                  </a:lnTo>
                  <a:lnTo>
                    <a:pt x="821" y="1997"/>
                  </a:lnTo>
                  <a:lnTo>
                    <a:pt x="815" y="2006"/>
                  </a:lnTo>
                  <a:lnTo>
                    <a:pt x="808" y="2013"/>
                  </a:lnTo>
                  <a:lnTo>
                    <a:pt x="803" y="2017"/>
                  </a:lnTo>
                  <a:lnTo>
                    <a:pt x="797" y="2020"/>
                  </a:lnTo>
                  <a:lnTo>
                    <a:pt x="792" y="2021"/>
                  </a:lnTo>
                  <a:lnTo>
                    <a:pt x="785" y="2022"/>
                  </a:lnTo>
                  <a:lnTo>
                    <a:pt x="785" y="2022"/>
                  </a:lnTo>
                  <a:close/>
                  <a:moveTo>
                    <a:pt x="1951" y="1819"/>
                  </a:moveTo>
                  <a:lnTo>
                    <a:pt x="1951" y="1819"/>
                  </a:lnTo>
                  <a:lnTo>
                    <a:pt x="1946" y="1820"/>
                  </a:lnTo>
                  <a:lnTo>
                    <a:pt x="1940" y="1822"/>
                  </a:lnTo>
                  <a:lnTo>
                    <a:pt x="1927" y="1825"/>
                  </a:lnTo>
                  <a:lnTo>
                    <a:pt x="1916" y="1833"/>
                  </a:lnTo>
                  <a:lnTo>
                    <a:pt x="1906" y="1843"/>
                  </a:lnTo>
                  <a:lnTo>
                    <a:pt x="1906" y="1728"/>
                  </a:lnTo>
                  <a:lnTo>
                    <a:pt x="1854" y="1759"/>
                  </a:lnTo>
                  <a:lnTo>
                    <a:pt x="1854" y="2072"/>
                  </a:lnTo>
                  <a:lnTo>
                    <a:pt x="1906" y="2072"/>
                  </a:lnTo>
                  <a:lnTo>
                    <a:pt x="1906" y="2054"/>
                  </a:lnTo>
                  <a:lnTo>
                    <a:pt x="1906" y="2054"/>
                  </a:lnTo>
                  <a:lnTo>
                    <a:pt x="1910" y="2060"/>
                  </a:lnTo>
                  <a:lnTo>
                    <a:pt x="1916" y="2065"/>
                  </a:lnTo>
                  <a:lnTo>
                    <a:pt x="1921" y="2069"/>
                  </a:lnTo>
                  <a:lnTo>
                    <a:pt x="1927" y="2072"/>
                  </a:lnTo>
                  <a:lnTo>
                    <a:pt x="1933" y="2075"/>
                  </a:lnTo>
                  <a:lnTo>
                    <a:pt x="1940" y="2076"/>
                  </a:lnTo>
                  <a:lnTo>
                    <a:pt x="1946" y="2077"/>
                  </a:lnTo>
                  <a:lnTo>
                    <a:pt x="1952" y="2079"/>
                  </a:lnTo>
                  <a:lnTo>
                    <a:pt x="1952" y="2079"/>
                  </a:lnTo>
                  <a:lnTo>
                    <a:pt x="1962" y="2077"/>
                  </a:lnTo>
                  <a:lnTo>
                    <a:pt x="1971" y="2076"/>
                  </a:lnTo>
                  <a:lnTo>
                    <a:pt x="1979" y="2074"/>
                  </a:lnTo>
                  <a:lnTo>
                    <a:pt x="1988" y="2069"/>
                  </a:lnTo>
                  <a:lnTo>
                    <a:pt x="1995" y="2064"/>
                  </a:lnTo>
                  <a:lnTo>
                    <a:pt x="2001" y="2059"/>
                  </a:lnTo>
                  <a:lnTo>
                    <a:pt x="2008" y="2052"/>
                  </a:lnTo>
                  <a:lnTo>
                    <a:pt x="2013" y="2044"/>
                  </a:lnTo>
                  <a:lnTo>
                    <a:pt x="2018" y="2034"/>
                  </a:lnTo>
                  <a:lnTo>
                    <a:pt x="2022" y="2024"/>
                  </a:lnTo>
                  <a:lnTo>
                    <a:pt x="2025" y="2013"/>
                  </a:lnTo>
                  <a:lnTo>
                    <a:pt x="2028" y="2002"/>
                  </a:lnTo>
                  <a:lnTo>
                    <a:pt x="2032" y="1990"/>
                  </a:lnTo>
                  <a:lnTo>
                    <a:pt x="2033" y="1977"/>
                  </a:lnTo>
                  <a:lnTo>
                    <a:pt x="2034" y="1962"/>
                  </a:lnTo>
                  <a:lnTo>
                    <a:pt x="2035" y="1946"/>
                  </a:lnTo>
                  <a:lnTo>
                    <a:pt x="2035" y="1946"/>
                  </a:lnTo>
                  <a:lnTo>
                    <a:pt x="2034" y="1932"/>
                  </a:lnTo>
                  <a:lnTo>
                    <a:pt x="2033" y="1919"/>
                  </a:lnTo>
                  <a:lnTo>
                    <a:pt x="2030" y="1905"/>
                  </a:lnTo>
                  <a:lnTo>
                    <a:pt x="2028" y="1893"/>
                  </a:lnTo>
                  <a:lnTo>
                    <a:pt x="2025" y="1882"/>
                  </a:lnTo>
                  <a:lnTo>
                    <a:pt x="2021" y="1872"/>
                  </a:lnTo>
                  <a:lnTo>
                    <a:pt x="2017" y="1862"/>
                  </a:lnTo>
                  <a:lnTo>
                    <a:pt x="2012" y="1854"/>
                  </a:lnTo>
                  <a:lnTo>
                    <a:pt x="2007" y="1846"/>
                  </a:lnTo>
                  <a:lnTo>
                    <a:pt x="2000" y="1839"/>
                  </a:lnTo>
                  <a:lnTo>
                    <a:pt x="1993" y="1833"/>
                  </a:lnTo>
                  <a:lnTo>
                    <a:pt x="1986" y="1828"/>
                  </a:lnTo>
                  <a:lnTo>
                    <a:pt x="1978" y="1824"/>
                  </a:lnTo>
                  <a:lnTo>
                    <a:pt x="1970" y="1822"/>
                  </a:lnTo>
                  <a:lnTo>
                    <a:pt x="1961" y="1820"/>
                  </a:lnTo>
                  <a:lnTo>
                    <a:pt x="1951" y="1819"/>
                  </a:lnTo>
                  <a:lnTo>
                    <a:pt x="1951" y="1819"/>
                  </a:lnTo>
                  <a:close/>
                  <a:moveTo>
                    <a:pt x="1942" y="1876"/>
                  </a:moveTo>
                  <a:lnTo>
                    <a:pt x="1942" y="1876"/>
                  </a:lnTo>
                  <a:lnTo>
                    <a:pt x="1949" y="1877"/>
                  </a:lnTo>
                  <a:lnTo>
                    <a:pt x="1957" y="1879"/>
                  </a:lnTo>
                  <a:lnTo>
                    <a:pt x="1963" y="1884"/>
                  </a:lnTo>
                  <a:lnTo>
                    <a:pt x="1969" y="1892"/>
                  </a:lnTo>
                  <a:lnTo>
                    <a:pt x="1974" y="1900"/>
                  </a:lnTo>
                  <a:lnTo>
                    <a:pt x="1977" y="1913"/>
                  </a:lnTo>
                  <a:lnTo>
                    <a:pt x="1981" y="1927"/>
                  </a:lnTo>
                  <a:lnTo>
                    <a:pt x="1982" y="1945"/>
                  </a:lnTo>
                  <a:lnTo>
                    <a:pt x="1982" y="1945"/>
                  </a:lnTo>
                  <a:lnTo>
                    <a:pt x="1981" y="1963"/>
                  </a:lnTo>
                  <a:lnTo>
                    <a:pt x="1978" y="1979"/>
                  </a:lnTo>
                  <a:lnTo>
                    <a:pt x="1976" y="1991"/>
                  </a:lnTo>
                  <a:lnTo>
                    <a:pt x="1972" y="2002"/>
                  </a:lnTo>
                  <a:lnTo>
                    <a:pt x="1966" y="2011"/>
                  </a:lnTo>
                  <a:lnTo>
                    <a:pt x="1960" y="2017"/>
                  </a:lnTo>
                  <a:lnTo>
                    <a:pt x="1952" y="2021"/>
                  </a:lnTo>
                  <a:lnTo>
                    <a:pt x="1943" y="2022"/>
                  </a:lnTo>
                  <a:lnTo>
                    <a:pt x="1943" y="2022"/>
                  </a:lnTo>
                  <a:lnTo>
                    <a:pt x="1936" y="2021"/>
                  </a:lnTo>
                  <a:lnTo>
                    <a:pt x="1930" y="2020"/>
                  </a:lnTo>
                  <a:lnTo>
                    <a:pt x="1924" y="2016"/>
                  </a:lnTo>
                  <a:lnTo>
                    <a:pt x="1919" y="2013"/>
                  </a:lnTo>
                  <a:lnTo>
                    <a:pt x="1911" y="2005"/>
                  </a:lnTo>
                  <a:lnTo>
                    <a:pt x="1906" y="1999"/>
                  </a:lnTo>
                  <a:lnTo>
                    <a:pt x="1906" y="1900"/>
                  </a:lnTo>
                  <a:lnTo>
                    <a:pt x="1906" y="1900"/>
                  </a:lnTo>
                  <a:lnTo>
                    <a:pt x="1909" y="1895"/>
                  </a:lnTo>
                  <a:lnTo>
                    <a:pt x="1913" y="1890"/>
                  </a:lnTo>
                  <a:lnTo>
                    <a:pt x="1917" y="1886"/>
                  </a:lnTo>
                  <a:lnTo>
                    <a:pt x="1921" y="1882"/>
                  </a:lnTo>
                  <a:lnTo>
                    <a:pt x="1926" y="1879"/>
                  </a:lnTo>
                  <a:lnTo>
                    <a:pt x="1932" y="1877"/>
                  </a:lnTo>
                  <a:lnTo>
                    <a:pt x="1937" y="1876"/>
                  </a:lnTo>
                  <a:lnTo>
                    <a:pt x="1942" y="1876"/>
                  </a:lnTo>
                  <a:lnTo>
                    <a:pt x="1942" y="1876"/>
                  </a:lnTo>
                  <a:close/>
                  <a:moveTo>
                    <a:pt x="1362" y="1843"/>
                  </a:moveTo>
                  <a:lnTo>
                    <a:pt x="1362" y="1843"/>
                  </a:lnTo>
                  <a:lnTo>
                    <a:pt x="1358" y="1838"/>
                  </a:lnTo>
                  <a:lnTo>
                    <a:pt x="1353" y="1833"/>
                  </a:lnTo>
                  <a:lnTo>
                    <a:pt x="1347" y="1829"/>
                  </a:lnTo>
                  <a:lnTo>
                    <a:pt x="1342" y="1825"/>
                  </a:lnTo>
                  <a:lnTo>
                    <a:pt x="1335" y="1823"/>
                  </a:lnTo>
                  <a:lnTo>
                    <a:pt x="1329" y="1820"/>
                  </a:lnTo>
                  <a:lnTo>
                    <a:pt x="1323" y="1820"/>
                  </a:lnTo>
                  <a:lnTo>
                    <a:pt x="1317" y="1819"/>
                  </a:lnTo>
                  <a:lnTo>
                    <a:pt x="1317" y="1819"/>
                  </a:lnTo>
                  <a:lnTo>
                    <a:pt x="1307" y="1820"/>
                  </a:lnTo>
                  <a:lnTo>
                    <a:pt x="1298" y="1822"/>
                  </a:lnTo>
                  <a:lnTo>
                    <a:pt x="1289" y="1824"/>
                  </a:lnTo>
                  <a:lnTo>
                    <a:pt x="1282" y="1828"/>
                  </a:lnTo>
                  <a:lnTo>
                    <a:pt x="1275" y="1833"/>
                  </a:lnTo>
                  <a:lnTo>
                    <a:pt x="1268" y="1839"/>
                  </a:lnTo>
                  <a:lnTo>
                    <a:pt x="1261" y="1846"/>
                  </a:lnTo>
                  <a:lnTo>
                    <a:pt x="1256" y="1854"/>
                  </a:lnTo>
                  <a:lnTo>
                    <a:pt x="1251" y="1862"/>
                  </a:lnTo>
                  <a:lnTo>
                    <a:pt x="1247" y="1872"/>
                  </a:lnTo>
                  <a:lnTo>
                    <a:pt x="1243" y="1882"/>
                  </a:lnTo>
                  <a:lnTo>
                    <a:pt x="1240" y="1893"/>
                  </a:lnTo>
                  <a:lnTo>
                    <a:pt x="1237" y="1905"/>
                  </a:lnTo>
                  <a:lnTo>
                    <a:pt x="1235" y="1919"/>
                  </a:lnTo>
                  <a:lnTo>
                    <a:pt x="1234" y="1932"/>
                  </a:lnTo>
                  <a:lnTo>
                    <a:pt x="1234" y="1946"/>
                  </a:lnTo>
                  <a:lnTo>
                    <a:pt x="1234" y="1946"/>
                  </a:lnTo>
                  <a:lnTo>
                    <a:pt x="1234" y="1962"/>
                  </a:lnTo>
                  <a:lnTo>
                    <a:pt x="1235" y="1975"/>
                  </a:lnTo>
                  <a:lnTo>
                    <a:pt x="1237" y="1989"/>
                  </a:lnTo>
                  <a:lnTo>
                    <a:pt x="1240" y="2001"/>
                  </a:lnTo>
                  <a:lnTo>
                    <a:pt x="1243" y="2013"/>
                  </a:lnTo>
                  <a:lnTo>
                    <a:pt x="1246" y="2024"/>
                  </a:lnTo>
                  <a:lnTo>
                    <a:pt x="1251" y="2034"/>
                  </a:lnTo>
                  <a:lnTo>
                    <a:pt x="1255" y="2043"/>
                  </a:lnTo>
                  <a:lnTo>
                    <a:pt x="1261" y="2052"/>
                  </a:lnTo>
                  <a:lnTo>
                    <a:pt x="1267" y="2058"/>
                  </a:lnTo>
                  <a:lnTo>
                    <a:pt x="1274" y="2064"/>
                  </a:lnTo>
                  <a:lnTo>
                    <a:pt x="1281" y="2069"/>
                  </a:lnTo>
                  <a:lnTo>
                    <a:pt x="1288" y="2072"/>
                  </a:lnTo>
                  <a:lnTo>
                    <a:pt x="1297" y="2076"/>
                  </a:lnTo>
                  <a:lnTo>
                    <a:pt x="1306" y="2077"/>
                  </a:lnTo>
                  <a:lnTo>
                    <a:pt x="1315" y="2077"/>
                  </a:lnTo>
                  <a:lnTo>
                    <a:pt x="1315" y="2077"/>
                  </a:lnTo>
                  <a:lnTo>
                    <a:pt x="1322" y="2077"/>
                  </a:lnTo>
                  <a:lnTo>
                    <a:pt x="1328" y="2076"/>
                  </a:lnTo>
                  <a:lnTo>
                    <a:pt x="1334" y="2075"/>
                  </a:lnTo>
                  <a:lnTo>
                    <a:pt x="1340" y="2072"/>
                  </a:lnTo>
                  <a:lnTo>
                    <a:pt x="1347" y="2069"/>
                  </a:lnTo>
                  <a:lnTo>
                    <a:pt x="1352" y="2064"/>
                  </a:lnTo>
                  <a:lnTo>
                    <a:pt x="1357" y="2060"/>
                  </a:lnTo>
                  <a:lnTo>
                    <a:pt x="1362" y="2054"/>
                  </a:lnTo>
                  <a:lnTo>
                    <a:pt x="1362" y="2060"/>
                  </a:lnTo>
                  <a:lnTo>
                    <a:pt x="1362" y="2060"/>
                  </a:lnTo>
                  <a:lnTo>
                    <a:pt x="1362" y="2070"/>
                  </a:lnTo>
                  <a:lnTo>
                    <a:pt x="1361" y="2081"/>
                  </a:lnTo>
                  <a:lnTo>
                    <a:pt x="1359" y="2092"/>
                  </a:lnTo>
                  <a:lnTo>
                    <a:pt x="1357" y="2097"/>
                  </a:lnTo>
                  <a:lnTo>
                    <a:pt x="1354" y="2102"/>
                  </a:lnTo>
                  <a:lnTo>
                    <a:pt x="1351" y="2107"/>
                  </a:lnTo>
                  <a:lnTo>
                    <a:pt x="1347" y="2112"/>
                  </a:lnTo>
                  <a:lnTo>
                    <a:pt x="1340" y="2115"/>
                  </a:lnTo>
                  <a:lnTo>
                    <a:pt x="1334" y="2118"/>
                  </a:lnTo>
                  <a:lnTo>
                    <a:pt x="1327" y="2122"/>
                  </a:lnTo>
                  <a:lnTo>
                    <a:pt x="1318" y="2123"/>
                  </a:lnTo>
                  <a:lnTo>
                    <a:pt x="1307" y="2125"/>
                  </a:lnTo>
                  <a:lnTo>
                    <a:pt x="1296" y="2125"/>
                  </a:lnTo>
                  <a:lnTo>
                    <a:pt x="1294" y="2125"/>
                  </a:lnTo>
                  <a:lnTo>
                    <a:pt x="1311" y="2173"/>
                  </a:lnTo>
                  <a:lnTo>
                    <a:pt x="1312" y="2173"/>
                  </a:lnTo>
                  <a:lnTo>
                    <a:pt x="1312" y="2173"/>
                  </a:lnTo>
                  <a:lnTo>
                    <a:pt x="1325" y="2173"/>
                  </a:lnTo>
                  <a:lnTo>
                    <a:pt x="1336" y="2171"/>
                  </a:lnTo>
                  <a:lnTo>
                    <a:pt x="1348" y="2168"/>
                  </a:lnTo>
                  <a:lnTo>
                    <a:pt x="1357" y="2165"/>
                  </a:lnTo>
                  <a:lnTo>
                    <a:pt x="1366" y="2161"/>
                  </a:lnTo>
                  <a:lnTo>
                    <a:pt x="1375" y="2156"/>
                  </a:lnTo>
                  <a:lnTo>
                    <a:pt x="1382" y="2149"/>
                  </a:lnTo>
                  <a:lnTo>
                    <a:pt x="1389" y="2143"/>
                  </a:lnTo>
                  <a:lnTo>
                    <a:pt x="1396" y="2134"/>
                  </a:lnTo>
                  <a:lnTo>
                    <a:pt x="1400" y="2124"/>
                  </a:lnTo>
                  <a:lnTo>
                    <a:pt x="1405" y="2114"/>
                  </a:lnTo>
                  <a:lnTo>
                    <a:pt x="1408" y="2103"/>
                  </a:lnTo>
                  <a:lnTo>
                    <a:pt x="1411" y="2091"/>
                  </a:lnTo>
                  <a:lnTo>
                    <a:pt x="1413" y="2079"/>
                  </a:lnTo>
                  <a:lnTo>
                    <a:pt x="1414" y="2065"/>
                  </a:lnTo>
                  <a:lnTo>
                    <a:pt x="1414" y="2049"/>
                  </a:lnTo>
                  <a:lnTo>
                    <a:pt x="1414" y="1825"/>
                  </a:lnTo>
                  <a:lnTo>
                    <a:pt x="1362" y="1825"/>
                  </a:lnTo>
                  <a:lnTo>
                    <a:pt x="1362" y="1843"/>
                  </a:lnTo>
                  <a:close/>
                  <a:moveTo>
                    <a:pt x="1362" y="1900"/>
                  </a:moveTo>
                  <a:lnTo>
                    <a:pt x="1362" y="1997"/>
                  </a:lnTo>
                  <a:lnTo>
                    <a:pt x="1362" y="1997"/>
                  </a:lnTo>
                  <a:lnTo>
                    <a:pt x="1356" y="2006"/>
                  </a:lnTo>
                  <a:lnTo>
                    <a:pt x="1348" y="2015"/>
                  </a:lnTo>
                  <a:lnTo>
                    <a:pt x="1344" y="2017"/>
                  </a:lnTo>
                  <a:lnTo>
                    <a:pt x="1338" y="2020"/>
                  </a:lnTo>
                  <a:lnTo>
                    <a:pt x="1332" y="2021"/>
                  </a:lnTo>
                  <a:lnTo>
                    <a:pt x="1326" y="2022"/>
                  </a:lnTo>
                  <a:lnTo>
                    <a:pt x="1326" y="2022"/>
                  </a:lnTo>
                  <a:lnTo>
                    <a:pt x="1319" y="2021"/>
                  </a:lnTo>
                  <a:lnTo>
                    <a:pt x="1312" y="2018"/>
                  </a:lnTo>
                  <a:lnTo>
                    <a:pt x="1305" y="2013"/>
                  </a:lnTo>
                  <a:lnTo>
                    <a:pt x="1300" y="2007"/>
                  </a:lnTo>
                  <a:lnTo>
                    <a:pt x="1295" y="1997"/>
                  </a:lnTo>
                  <a:lnTo>
                    <a:pt x="1291" y="1984"/>
                  </a:lnTo>
                  <a:lnTo>
                    <a:pt x="1287" y="1967"/>
                  </a:lnTo>
                  <a:lnTo>
                    <a:pt x="1286" y="1945"/>
                  </a:lnTo>
                  <a:lnTo>
                    <a:pt x="1286" y="1945"/>
                  </a:lnTo>
                  <a:lnTo>
                    <a:pt x="1287" y="1925"/>
                  </a:lnTo>
                  <a:lnTo>
                    <a:pt x="1291" y="1910"/>
                  </a:lnTo>
                  <a:lnTo>
                    <a:pt x="1295" y="1898"/>
                  </a:lnTo>
                  <a:lnTo>
                    <a:pt x="1300" y="1889"/>
                  </a:lnTo>
                  <a:lnTo>
                    <a:pt x="1305" y="1882"/>
                  </a:lnTo>
                  <a:lnTo>
                    <a:pt x="1312" y="1878"/>
                  </a:lnTo>
                  <a:lnTo>
                    <a:pt x="1319" y="1876"/>
                  </a:lnTo>
                  <a:lnTo>
                    <a:pt x="1326" y="1876"/>
                  </a:lnTo>
                  <a:lnTo>
                    <a:pt x="1326" y="1876"/>
                  </a:lnTo>
                  <a:lnTo>
                    <a:pt x="1332" y="1876"/>
                  </a:lnTo>
                  <a:lnTo>
                    <a:pt x="1338" y="1878"/>
                  </a:lnTo>
                  <a:lnTo>
                    <a:pt x="1345" y="1881"/>
                  </a:lnTo>
                  <a:lnTo>
                    <a:pt x="1349" y="1883"/>
                  </a:lnTo>
                  <a:lnTo>
                    <a:pt x="1353" y="1888"/>
                  </a:lnTo>
                  <a:lnTo>
                    <a:pt x="1357" y="1892"/>
                  </a:lnTo>
                  <a:lnTo>
                    <a:pt x="1362" y="1900"/>
                  </a:lnTo>
                  <a:lnTo>
                    <a:pt x="1362" y="1900"/>
                  </a:lnTo>
                  <a:close/>
                  <a:moveTo>
                    <a:pt x="1576" y="1886"/>
                  </a:moveTo>
                  <a:lnTo>
                    <a:pt x="1576" y="1886"/>
                  </a:lnTo>
                  <a:lnTo>
                    <a:pt x="1588" y="1878"/>
                  </a:lnTo>
                  <a:lnTo>
                    <a:pt x="1601" y="1873"/>
                  </a:lnTo>
                  <a:lnTo>
                    <a:pt x="1614" y="1870"/>
                  </a:lnTo>
                  <a:lnTo>
                    <a:pt x="1629" y="1868"/>
                  </a:lnTo>
                  <a:lnTo>
                    <a:pt x="1629" y="1868"/>
                  </a:lnTo>
                  <a:lnTo>
                    <a:pt x="1638" y="1870"/>
                  </a:lnTo>
                  <a:lnTo>
                    <a:pt x="1645" y="1871"/>
                  </a:lnTo>
                  <a:lnTo>
                    <a:pt x="1652" y="1873"/>
                  </a:lnTo>
                  <a:lnTo>
                    <a:pt x="1657" y="1878"/>
                  </a:lnTo>
                  <a:lnTo>
                    <a:pt x="1661" y="1883"/>
                  </a:lnTo>
                  <a:lnTo>
                    <a:pt x="1664" y="1889"/>
                  </a:lnTo>
                  <a:lnTo>
                    <a:pt x="1666" y="1895"/>
                  </a:lnTo>
                  <a:lnTo>
                    <a:pt x="1666" y="1904"/>
                  </a:lnTo>
                  <a:lnTo>
                    <a:pt x="1666" y="1921"/>
                  </a:lnTo>
                  <a:lnTo>
                    <a:pt x="1666" y="1921"/>
                  </a:lnTo>
                  <a:lnTo>
                    <a:pt x="1657" y="1916"/>
                  </a:lnTo>
                  <a:lnTo>
                    <a:pt x="1645" y="1913"/>
                  </a:lnTo>
                  <a:lnTo>
                    <a:pt x="1634" y="1910"/>
                  </a:lnTo>
                  <a:lnTo>
                    <a:pt x="1621" y="1909"/>
                  </a:lnTo>
                  <a:lnTo>
                    <a:pt x="1621" y="1909"/>
                  </a:lnTo>
                  <a:lnTo>
                    <a:pt x="1607" y="1910"/>
                  </a:lnTo>
                  <a:lnTo>
                    <a:pt x="1592" y="1914"/>
                  </a:lnTo>
                  <a:lnTo>
                    <a:pt x="1579" y="1919"/>
                  </a:lnTo>
                  <a:lnTo>
                    <a:pt x="1572" y="1922"/>
                  </a:lnTo>
                  <a:lnTo>
                    <a:pt x="1565" y="1927"/>
                  </a:lnTo>
                  <a:lnTo>
                    <a:pt x="1560" y="1932"/>
                  </a:lnTo>
                  <a:lnTo>
                    <a:pt x="1555" y="1938"/>
                  </a:lnTo>
                  <a:lnTo>
                    <a:pt x="1550" y="1945"/>
                  </a:lnTo>
                  <a:lnTo>
                    <a:pt x="1546" y="1952"/>
                  </a:lnTo>
                  <a:lnTo>
                    <a:pt x="1542" y="1961"/>
                  </a:lnTo>
                  <a:lnTo>
                    <a:pt x="1540" y="1970"/>
                  </a:lnTo>
                  <a:lnTo>
                    <a:pt x="1539" y="1980"/>
                  </a:lnTo>
                  <a:lnTo>
                    <a:pt x="1538" y="1990"/>
                  </a:lnTo>
                  <a:lnTo>
                    <a:pt x="1538" y="1990"/>
                  </a:lnTo>
                  <a:lnTo>
                    <a:pt x="1539" y="2002"/>
                  </a:lnTo>
                  <a:lnTo>
                    <a:pt x="1540" y="2013"/>
                  </a:lnTo>
                  <a:lnTo>
                    <a:pt x="1542" y="2022"/>
                  </a:lnTo>
                  <a:lnTo>
                    <a:pt x="1546" y="2032"/>
                  </a:lnTo>
                  <a:lnTo>
                    <a:pt x="1549" y="2039"/>
                  </a:lnTo>
                  <a:lnTo>
                    <a:pt x="1554" y="2047"/>
                  </a:lnTo>
                  <a:lnTo>
                    <a:pt x="1558" y="2053"/>
                  </a:lnTo>
                  <a:lnTo>
                    <a:pt x="1564" y="2059"/>
                  </a:lnTo>
                  <a:lnTo>
                    <a:pt x="1569" y="2064"/>
                  </a:lnTo>
                  <a:lnTo>
                    <a:pt x="1576" y="2068"/>
                  </a:lnTo>
                  <a:lnTo>
                    <a:pt x="1589" y="2074"/>
                  </a:lnTo>
                  <a:lnTo>
                    <a:pt x="1603" y="2077"/>
                  </a:lnTo>
                  <a:lnTo>
                    <a:pt x="1616" y="2079"/>
                  </a:lnTo>
                  <a:lnTo>
                    <a:pt x="1616" y="2079"/>
                  </a:lnTo>
                  <a:lnTo>
                    <a:pt x="1628" y="2076"/>
                  </a:lnTo>
                  <a:lnTo>
                    <a:pt x="1635" y="2075"/>
                  </a:lnTo>
                  <a:lnTo>
                    <a:pt x="1641" y="2072"/>
                  </a:lnTo>
                  <a:lnTo>
                    <a:pt x="1649" y="2069"/>
                  </a:lnTo>
                  <a:lnTo>
                    <a:pt x="1655" y="2064"/>
                  </a:lnTo>
                  <a:lnTo>
                    <a:pt x="1661" y="2059"/>
                  </a:lnTo>
                  <a:lnTo>
                    <a:pt x="1666" y="2053"/>
                  </a:lnTo>
                  <a:lnTo>
                    <a:pt x="1666" y="2072"/>
                  </a:lnTo>
                  <a:lnTo>
                    <a:pt x="1718" y="2072"/>
                  </a:lnTo>
                  <a:lnTo>
                    <a:pt x="1718" y="1905"/>
                  </a:lnTo>
                  <a:lnTo>
                    <a:pt x="1718" y="1905"/>
                  </a:lnTo>
                  <a:lnTo>
                    <a:pt x="1718" y="1895"/>
                  </a:lnTo>
                  <a:lnTo>
                    <a:pt x="1717" y="1887"/>
                  </a:lnTo>
                  <a:lnTo>
                    <a:pt x="1715" y="1878"/>
                  </a:lnTo>
                  <a:lnTo>
                    <a:pt x="1713" y="1870"/>
                  </a:lnTo>
                  <a:lnTo>
                    <a:pt x="1709" y="1862"/>
                  </a:lnTo>
                  <a:lnTo>
                    <a:pt x="1706" y="1855"/>
                  </a:lnTo>
                  <a:lnTo>
                    <a:pt x="1701" y="1849"/>
                  </a:lnTo>
                  <a:lnTo>
                    <a:pt x="1695" y="1843"/>
                  </a:lnTo>
                  <a:lnTo>
                    <a:pt x="1690" y="1838"/>
                  </a:lnTo>
                  <a:lnTo>
                    <a:pt x="1684" y="1833"/>
                  </a:lnTo>
                  <a:lnTo>
                    <a:pt x="1677" y="1829"/>
                  </a:lnTo>
                  <a:lnTo>
                    <a:pt x="1669" y="1825"/>
                  </a:lnTo>
                  <a:lnTo>
                    <a:pt x="1661" y="1823"/>
                  </a:lnTo>
                  <a:lnTo>
                    <a:pt x="1653" y="1822"/>
                  </a:lnTo>
                  <a:lnTo>
                    <a:pt x="1643" y="1820"/>
                  </a:lnTo>
                  <a:lnTo>
                    <a:pt x="1634" y="1819"/>
                  </a:lnTo>
                  <a:lnTo>
                    <a:pt x="1634" y="1819"/>
                  </a:lnTo>
                  <a:lnTo>
                    <a:pt x="1623" y="1820"/>
                  </a:lnTo>
                  <a:lnTo>
                    <a:pt x="1613" y="1820"/>
                  </a:lnTo>
                  <a:lnTo>
                    <a:pt x="1603" y="1823"/>
                  </a:lnTo>
                  <a:lnTo>
                    <a:pt x="1592" y="1825"/>
                  </a:lnTo>
                  <a:lnTo>
                    <a:pt x="1583" y="1829"/>
                  </a:lnTo>
                  <a:lnTo>
                    <a:pt x="1574" y="1833"/>
                  </a:lnTo>
                  <a:lnTo>
                    <a:pt x="1564" y="1838"/>
                  </a:lnTo>
                  <a:lnTo>
                    <a:pt x="1555" y="1844"/>
                  </a:lnTo>
                  <a:lnTo>
                    <a:pt x="1576" y="1886"/>
                  </a:lnTo>
                  <a:close/>
                  <a:moveTo>
                    <a:pt x="1590" y="1990"/>
                  </a:moveTo>
                  <a:lnTo>
                    <a:pt x="1590" y="1990"/>
                  </a:lnTo>
                  <a:lnTo>
                    <a:pt x="1590" y="1983"/>
                  </a:lnTo>
                  <a:lnTo>
                    <a:pt x="1592" y="1975"/>
                  </a:lnTo>
                  <a:lnTo>
                    <a:pt x="1595" y="1969"/>
                  </a:lnTo>
                  <a:lnTo>
                    <a:pt x="1600" y="1964"/>
                  </a:lnTo>
                  <a:lnTo>
                    <a:pt x="1605" y="1961"/>
                  </a:lnTo>
                  <a:lnTo>
                    <a:pt x="1611" y="1958"/>
                  </a:lnTo>
                  <a:lnTo>
                    <a:pt x="1618" y="1956"/>
                  </a:lnTo>
                  <a:lnTo>
                    <a:pt x="1626" y="1956"/>
                  </a:lnTo>
                  <a:lnTo>
                    <a:pt x="1626" y="1956"/>
                  </a:lnTo>
                  <a:lnTo>
                    <a:pt x="1637" y="1956"/>
                  </a:lnTo>
                  <a:lnTo>
                    <a:pt x="1647" y="1958"/>
                  </a:lnTo>
                  <a:lnTo>
                    <a:pt x="1657" y="1962"/>
                  </a:lnTo>
                  <a:lnTo>
                    <a:pt x="1666" y="1968"/>
                  </a:lnTo>
                  <a:lnTo>
                    <a:pt x="1666" y="2001"/>
                  </a:lnTo>
                  <a:lnTo>
                    <a:pt x="1666" y="2001"/>
                  </a:lnTo>
                  <a:lnTo>
                    <a:pt x="1664" y="2006"/>
                  </a:lnTo>
                  <a:lnTo>
                    <a:pt x="1660" y="2011"/>
                  </a:lnTo>
                  <a:lnTo>
                    <a:pt x="1656" y="2016"/>
                  </a:lnTo>
                  <a:lnTo>
                    <a:pt x="1651" y="2020"/>
                  </a:lnTo>
                  <a:lnTo>
                    <a:pt x="1645" y="2023"/>
                  </a:lnTo>
                  <a:lnTo>
                    <a:pt x="1639" y="2026"/>
                  </a:lnTo>
                  <a:lnTo>
                    <a:pt x="1633" y="2027"/>
                  </a:lnTo>
                  <a:lnTo>
                    <a:pt x="1626" y="2028"/>
                  </a:lnTo>
                  <a:lnTo>
                    <a:pt x="1626" y="2028"/>
                  </a:lnTo>
                  <a:lnTo>
                    <a:pt x="1618" y="2027"/>
                  </a:lnTo>
                  <a:lnTo>
                    <a:pt x="1611" y="2024"/>
                  </a:lnTo>
                  <a:lnTo>
                    <a:pt x="1605" y="2022"/>
                  </a:lnTo>
                  <a:lnTo>
                    <a:pt x="1600" y="2017"/>
                  </a:lnTo>
                  <a:lnTo>
                    <a:pt x="1595" y="2012"/>
                  </a:lnTo>
                  <a:lnTo>
                    <a:pt x="1592" y="2006"/>
                  </a:lnTo>
                  <a:lnTo>
                    <a:pt x="1591" y="1999"/>
                  </a:lnTo>
                  <a:lnTo>
                    <a:pt x="1590" y="1990"/>
                  </a:lnTo>
                  <a:lnTo>
                    <a:pt x="1590" y="1990"/>
                  </a:lnTo>
                  <a:close/>
                  <a:moveTo>
                    <a:pt x="2200" y="2001"/>
                  </a:moveTo>
                  <a:lnTo>
                    <a:pt x="2200" y="2001"/>
                  </a:lnTo>
                  <a:lnTo>
                    <a:pt x="2193" y="2009"/>
                  </a:lnTo>
                  <a:lnTo>
                    <a:pt x="2183" y="2015"/>
                  </a:lnTo>
                  <a:lnTo>
                    <a:pt x="2178" y="2017"/>
                  </a:lnTo>
                  <a:lnTo>
                    <a:pt x="2172" y="2020"/>
                  </a:lnTo>
                  <a:lnTo>
                    <a:pt x="2166" y="2021"/>
                  </a:lnTo>
                  <a:lnTo>
                    <a:pt x="2160" y="2022"/>
                  </a:lnTo>
                  <a:lnTo>
                    <a:pt x="2160" y="2022"/>
                  </a:lnTo>
                  <a:lnTo>
                    <a:pt x="2154" y="2021"/>
                  </a:lnTo>
                  <a:lnTo>
                    <a:pt x="2148" y="2021"/>
                  </a:lnTo>
                  <a:lnTo>
                    <a:pt x="2141" y="2018"/>
                  </a:lnTo>
                  <a:lnTo>
                    <a:pt x="2132" y="2013"/>
                  </a:lnTo>
                  <a:lnTo>
                    <a:pt x="2125" y="2007"/>
                  </a:lnTo>
                  <a:lnTo>
                    <a:pt x="2122" y="2002"/>
                  </a:lnTo>
                  <a:lnTo>
                    <a:pt x="2119" y="1997"/>
                  </a:lnTo>
                  <a:lnTo>
                    <a:pt x="2117" y="1991"/>
                  </a:lnTo>
                  <a:lnTo>
                    <a:pt x="2115" y="1984"/>
                  </a:lnTo>
                  <a:lnTo>
                    <a:pt x="2114" y="1977"/>
                  </a:lnTo>
                  <a:lnTo>
                    <a:pt x="2113" y="1968"/>
                  </a:lnTo>
                  <a:lnTo>
                    <a:pt x="2241" y="1968"/>
                  </a:lnTo>
                  <a:lnTo>
                    <a:pt x="2241" y="1968"/>
                  </a:lnTo>
                  <a:lnTo>
                    <a:pt x="2242" y="1949"/>
                  </a:lnTo>
                  <a:lnTo>
                    <a:pt x="2242" y="1949"/>
                  </a:lnTo>
                  <a:lnTo>
                    <a:pt x="2242" y="1935"/>
                  </a:lnTo>
                  <a:lnTo>
                    <a:pt x="2240" y="1921"/>
                  </a:lnTo>
                  <a:lnTo>
                    <a:pt x="2239" y="1908"/>
                  </a:lnTo>
                  <a:lnTo>
                    <a:pt x="2236" y="1895"/>
                  </a:lnTo>
                  <a:lnTo>
                    <a:pt x="2232" y="1884"/>
                  </a:lnTo>
                  <a:lnTo>
                    <a:pt x="2228" y="1873"/>
                  </a:lnTo>
                  <a:lnTo>
                    <a:pt x="2223" y="1863"/>
                  </a:lnTo>
                  <a:lnTo>
                    <a:pt x="2218" y="1855"/>
                  </a:lnTo>
                  <a:lnTo>
                    <a:pt x="2212" y="1846"/>
                  </a:lnTo>
                  <a:lnTo>
                    <a:pt x="2205" y="1840"/>
                  </a:lnTo>
                  <a:lnTo>
                    <a:pt x="2198" y="1834"/>
                  </a:lnTo>
                  <a:lnTo>
                    <a:pt x="2190" y="1829"/>
                  </a:lnTo>
                  <a:lnTo>
                    <a:pt x="2181" y="1825"/>
                  </a:lnTo>
                  <a:lnTo>
                    <a:pt x="2173" y="1822"/>
                  </a:lnTo>
                  <a:lnTo>
                    <a:pt x="2164" y="1820"/>
                  </a:lnTo>
                  <a:lnTo>
                    <a:pt x="2153" y="1819"/>
                  </a:lnTo>
                  <a:lnTo>
                    <a:pt x="2153" y="1819"/>
                  </a:lnTo>
                  <a:lnTo>
                    <a:pt x="2144" y="1820"/>
                  </a:lnTo>
                  <a:lnTo>
                    <a:pt x="2135" y="1822"/>
                  </a:lnTo>
                  <a:lnTo>
                    <a:pt x="2125" y="1825"/>
                  </a:lnTo>
                  <a:lnTo>
                    <a:pt x="2116" y="1829"/>
                  </a:lnTo>
                  <a:lnTo>
                    <a:pt x="2108" y="1834"/>
                  </a:lnTo>
                  <a:lnTo>
                    <a:pt x="2100" y="1841"/>
                  </a:lnTo>
                  <a:lnTo>
                    <a:pt x="2093" y="1847"/>
                  </a:lnTo>
                  <a:lnTo>
                    <a:pt x="2087" y="1856"/>
                  </a:lnTo>
                  <a:lnTo>
                    <a:pt x="2080" y="1865"/>
                  </a:lnTo>
                  <a:lnTo>
                    <a:pt x="2075" y="1875"/>
                  </a:lnTo>
                  <a:lnTo>
                    <a:pt x="2071" y="1886"/>
                  </a:lnTo>
                  <a:lnTo>
                    <a:pt x="2067" y="1897"/>
                  </a:lnTo>
                  <a:lnTo>
                    <a:pt x="2064" y="1909"/>
                  </a:lnTo>
                  <a:lnTo>
                    <a:pt x="2062" y="1922"/>
                  </a:lnTo>
                  <a:lnTo>
                    <a:pt x="2061" y="1935"/>
                  </a:lnTo>
                  <a:lnTo>
                    <a:pt x="2060" y="1949"/>
                  </a:lnTo>
                  <a:lnTo>
                    <a:pt x="2060" y="1949"/>
                  </a:lnTo>
                  <a:lnTo>
                    <a:pt x="2061" y="1963"/>
                  </a:lnTo>
                  <a:lnTo>
                    <a:pt x="2062" y="1977"/>
                  </a:lnTo>
                  <a:lnTo>
                    <a:pt x="2064" y="1990"/>
                  </a:lnTo>
                  <a:lnTo>
                    <a:pt x="2067" y="2002"/>
                  </a:lnTo>
                  <a:lnTo>
                    <a:pt x="2071" y="2013"/>
                  </a:lnTo>
                  <a:lnTo>
                    <a:pt x="2075" y="2024"/>
                  </a:lnTo>
                  <a:lnTo>
                    <a:pt x="2080" y="2034"/>
                  </a:lnTo>
                  <a:lnTo>
                    <a:pt x="2087" y="2043"/>
                  </a:lnTo>
                  <a:lnTo>
                    <a:pt x="2094" y="2050"/>
                  </a:lnTo>
                  <a:lnTo>
                    <a:pt x="2101" y="2058"/>
                  </a:lnTo>
                  <a:lnTo>
                    <a:pt x="2110" y="2064"/>
                  </a:lnTo>
                  <a:lnTo>
                    <a:pt x="2118" y="2069"/>
                  </a:lnTo>
                  <a:lnTo>
                    <a:pt x="2127" y="2072"/>
                  </a:lnTo>
                  <a:lnTo>
                    <a:pt x="2138" y="2076"/>
                  </a:lnTo>
                  <a:lnTo>
                    <a:pt x="2148" y="2077"/>
                  </a:lnTo>
                  <a:lnTo>
                    <a:pt x="2160" y="2079"/>
                  </a:lnTo>
                  <a:lnTo>
                    <a:pt x="2160" y="2079"/>
                  </a:lnTo>
                  <a:lnTo>
                    <a:pt x="2170" y="2077"/>
                  </a:lnTo>
                  <a:lnTo>
                    <a:pt x="2179" y="2076"/>
                  </a:lnTo>
                  <a:lnTo>
                    <a:pt x="2190" y="2072"/>
                  </a:lnTo>
                  <a:lnTo>
                    <a:pt x="2199" y="2069"/>
                  </a:lnTo>
                  <a:lnTo>
                    <a:pt x="2208" y="2063"/>
                  </a:lnTo>
                  <a:lnTo>
                    <a:pt x="2217" y="2056"/>
                  </a:lnTo>
                  <a:lnTo>
                    <a:pt x="2225" y="2048"/>
                  </a:lnTo>
                  <a:lnTo>
                    <a:pt x="2233" y="2039"/>
                  </a:lnTo>
                  <a:lnTo>
                    <a:pt x="2200" y="2001"/>
                  </a:lnTo>
                  <a:close/>
                  <a:moveTo>
                    <a:pt x="2114" y="1922"/>
                  </a:moveTo>
                  <a:lnTo>
                    <a:pt x="2114" y="1922"/>
                  </a:lnTo>
                  <a:lnTo>
                    <a:pt x="2115" y="1911"/>
                  </a:lnTo>
                  <a:lnTo>
                    <a:pt x="2117" y="1902"/>
                  </a:lnTo>
                  <a:lnTo>
                    <a:pt x="2120" y="1893"/>
                  </a:lnTo>
                  <a:lnTo>
                    <a:pt x="2125" y="1886"/>
                  </a:lnTo>
                  <a:lnTo>
                    <a:pt x="2130" y="1879"/>
                  </a:lnTo>
                  <a:lnTo>
                    <a:pt x="2137" y="1876"/>
                  </a:lnTo>
                  <a:lnTo>
                    <a:pt x="2144" y="1872"/>
                  </a:lnTo>
                  <a:lnTo>
                    <a:pt x="2152" y="1872"/>
                  </a:lnTo>
                  <a:lnTo>
                    <a:pt x="2152" y="1872"/>
                  </a:lnTo>
                  <a:lnTo>
                    <a:pt x="2162" y="1873"/>
                  </a:lnTo>
                  <a:lnTo>
                    <a:pt x="2170" y="1876"/>
                  </a:lnTo>
                  <a:lnTo>
                    <a:pt x="2176" y="1881"/>
                  </a:lnTo>
                  <a:lnTo>
                    <a:pt x="2181" y="1888"/>
                  </a:lnTo>
                  <a:lnTo>
                    <a:pt x="2186" y="1895"/>
                  </a:lnTo>
                  <a:lnTo>
                    <a:pt x="2189" y="1904"/>
                  </a:lnTo>
                  <a:lnTo>
                    <a:pt x="2191" y="1914"/>
                  </a:lnTo>
                  <a:lnTo>
                    <a:pt x="2192" y="1922"/>
                  </a:lnTo>
                  <a:lnTo>
                    <a:pt x="2114" y="1922"/>
                  </a:lnTo>
                  <a:close/>
                  <a:moveTo>
                    <a:pt x="2701" y="2001"/>
                  </a:moveTo>
                  <a:lnTo>
                    <a:pt x="2701" y="2001"/>
                  </a:lnTo>
                  <a:lnTo>
                    <a:pt x="2692" y="2009"/>
                  </a:lnTo>
                  <a:lnTo>
                    <a:pt x="2684" y="2015"/>
                  </a:lnTo>
                  <a:lnTo>
                    <a:pt x="2678" y="2017"/>
                  </a:lnTo>
                  <a:lnTo>
                    <a:pt x="2673" y="2020"/>
                  </a:lnTo>
                  <a:lnTo>
                    <a:pt x="2666" y="2021"/>
                  </a:lnTo>
                  <a:lnTo>
                    <a:pt x="2659" y="2022"/>
                  </a:lnTo>
                  <a:lnTo>
                    <a:pt x="2659" y="2022"/>
                  </a:lnTo>
                  <a:lnTo>
                    <a:pt x="2654" y="2021"/>
                  </a:lnTo>
                  <a:lnTo>
                    <a:pt x="2648" y="2021"/>
                  </a:lnTo>
                  <a:lnTo>
                    <a:pt x="2640" y="2018"/>
                  </a:lnTo>
                  <a:lnTo>
                    <a:pt x="2633" y="2013"/>
                  </a:lnTo>
                  <a:lnTo>
                    <a:pt x="2626" y="2007"/>
                  </a:lnTo>
                  <a:lnTo>
                    <a:pt x="2623" y="2002"/>
                  </a:lnTo>
                  <a:lnTo>
                    <a:pt x="2620" y="1997"/>
                  </a:lnTo>
                  <a:lnTo>
                    <a:pt x="2617" y="1991"/>
                  </a:lnTo>
                  <a:lnTo>
                    <a:pt x="2615" y="1984"/>
                  </a:lnTo>
                  <a:lnTo>
                    <a:pt x="2613" y="1977"/>
                  </a:lnTo>
                  <a:lnTo>
                    <a:pt x="2612" y="1968"/>
                  </a:lnTo>
                  <a:lnTo>
                    <a:pt x="2741" y="1968"/>
                  </a:lnTo>
                  <a:lnTo>
                    <a:pt x="2741" y="1968"/>
                  </a:lnTo>
                  <a:lnTo>
                    <a:pt x="2742" y="1949"/>
                  </a:lnTo>
                  <a:lnTo>
                    <a:pt x="2742" y="1949"/>
                  </a:lnTo>
                  <a:lnTo>
                    <a:pt x="2741" y="1935"/>
                  </a:lnTo>
                  <a:lnTo>
                    <a:pt x="2740" y="1921"/>
                  </a:lnTo>
                  <a:lnTo>
                    <a:pt x="2738" y="1908"/>
                  </a:lnTo>
                  <a:lnTo>
                    <a:pt x="2736" y="1895"/>
                  </a:lnTo>
                  <a:lnTo>
                    <a:pt x="2732" y="1884"/>
                  </a:lnTo>
                  <a:lnTo>
                    <a:pt x="2728" y="1873"/>
                  </a:lnTo>
                  <a:lnTo>
                    <a:pt x="2724" y="1863"/>
                  </a:lnTo>
                  <a:lnTo>
                    <a:pt x="2718" y="1855"/>
                  </a:lnTo>
                  <a:lnTo>
                    <a:pt x="2712" y="1846"/>
                  </a:lnTo>
                  <a:lnTo>
                    <a:pt x="2705" y="1840"/>
                  </a:lnTo>
                  <a:lnTo>
                    <a:pt x="2698" y="1834"/>
                  </a:lnTo>
                  <a:lnTo>
                    <a:pt x="2690" y="1829"/>
                  </a:lnTo>
                  <a:lnTo>
                    <a:pt x="2682" y="1825"/>
                  </a:lnTo>
                  <a:lnTo>
                    <a:pt x="2673" y="1822"/>
                  </a:lnTo>
                  <a:lnTo>
                    <a:pt x="2663" y="1820"/>
                  </a:lnTo>
                  <a:lnTo>
                    <a:pt x="2654" y="1819"/>
                  </a:lnTo>
                  <a:lnTo>
                    <a:pt x="2654" y="1819"/>
                  </a:lnTo>
                  <a:lnTo>
                    <a:pt x="2643" y="1820"/>
                  </a:lnTo>
                  <a:lnTo>
                    <a:pt x="2634" y="1822"/>
                  </a:lnTo>
                  <a:lnTo>
                    <a:pt x="2625" y="1825"/>
                  </a:lnTo>
                  <a:lnTo>
                    <a:pt x="2616" y="1829"/>
                  </a:lnTo>
                  <a:lnTo>
                    <a:pt x="2608" y="1834"/>
                  </a:lnTo>
                  <a:lnTo>
                    <a:pt x="2600" y="1841"/>
                  </a:lnTo>
                  <a:lnTo>
                    <a:pt x="2594" y="1847"/>
                  </a:lnTo>
                  <a:lnTo>
                    <a:pt x="2586" y="1856"/>
                  </a:lnTo>
                  <a:lnTo>
                    <a:pt x="2580" y="1865"/>
                  </a:lnTo>
                  <a:lnTo>
                    <a:pt x="2575" y="1875"/>
                  </a:lnTo>
                  <a:lnTo>
                    <a:pt x="2571" y="1886"/>
                  </a:lnTo>
                  <a:lnTo>
                    <a:pt x="2566" y="1897"/>
                  </a:lnTo>
                  <a:lnTo>
                    <a:pt x="2564" y="1909"/>
                  </a:lnTo>
                  <a:lnTo>
                    <a:pt x="2561" y="1922"/>
                  </a:lnTo>
                  <a:lnTo>
                    <a:pt x="2560" y="1935"/>
                  </a:lnTo>
                  <a:lnTo>
                    <a:pt x="2560" y="1949"/>
                  </a:lnTo>
                  <a:lnTo>
                    <a:pt x="2560" y="1949"/>
                  </a:lnTo>
                  <a:lnTo>
                    <a:pt x="2560" y="1963"/>
                  </a:lnTo>
                  <a:lnTo>
                    <a:pt x="2561" y="1977"/>
                  </a:lnTo>
                  <a:lnTo>
                    <a:pt x="2563" y="1990"/>
                  </a:lnTo>
                  <a:lnTo>
                    <a:pt x="2566" y="2002"/>
                  </a:lnTo>
                  <a:lnTo>
                    <a:pt x="2571" y="2013"/>
                  </a:lnTo>
                  <a:lnTo>
                    <a:pt x="2576" y="2024"/>
                  </a:lnTo>
                  <a:lnTo>
                    <a:pt x="2581" y="2034"/>
                  </a:lnTo>
                  <a:lnTo>
                    <a:pt x="2587" y="2043"/>
                  </a:lnTo>
                  <a:lnTo>
                    <a:pt x="2594" y="2050"/>
                  </a:lnTo>
                  <a:lnTo>
                    <a:pt x="2601" y="2058"/>
                  </a:lnTo>
                  <a:lnTo>
                    <a:pt x="2609" y="2064"/>
                  </a:lnTo>
                  <a:lnTo>
                    <a:pt x="2619" y="2069"/>
                  </a:lnTo>
                  <a:lnTo>
                    <a:pt x="2628" y="2072"/>
                  </a:lnTo>
                  <a:lnTo>
                    <a:pt x="2637" y="2076"/>
                  </a:lnTo>
                  <a:lnTo>
                    <a:pt x="2649" y="2077"/>
                  </a:lnTo>
                  <a:lnTo>
                    <a:pt x="2659" y="2079"/>
                  </a:lnTo>
                  <a:lnTo>
                    <a:pt x="2659" y="2079"/>
                  </a:lnTo>
                  <a:lnTo>
                    <a:pt x="2670" y="2077"/>
                  </a:lnTo>
                  <a:lnTo>
                    <a:pt x="2680" y="2076"/>
                  </a:lnTo>
                  <a:lnTo>
                    <a:pt x="2689" y="2072"/>
                  </a:lnTo>
                  <a:lnTo>
                    <a:pt x="2699" y="2069"/>
                  </a:lnTo>
                  <a:lnTo>
                    <a:pt x="2708" y="2063"/>
                  </a:lnTo>
                  <a:lnTo>
                    <a:pt x="2717" y="2056"/>
                  </a:lnTo>
                  <a:lnTo>
                    <a:pt x="2726" y="2048"/>
                  </a:lnTo>
                  <a:lnTo>
                    <a:pt x="2733" y="2039"/>
                  </a:lnTo>
                  <a:lnTo>
                    <a:pt x="2701" y="2001"/>
                  </a:lnTo>
                  <a:close/>
                  <a:moveTo>
                    <a:pt x="2613" y="1922"/>
                  </a:moveTo>
                  <a:lnTo>
                    <a:pt x="2613" y="1922"/>
                  </a:lnTo>
                  <a:lnTo>
                    <a:pt x="2614" y="1911"/>
                  </a:lnTo>
                  <a:lnTo>
                    <a:pt x="2617" y="1902"/>
                  </a:lnTo>
                  <a:lnTo>
                    <a:pt x="2621" y="1893"/>
                  </a:lnTo>
                  <a:lnTo>
                    <a:pt x="2625" y="1886"/>
                  </a:lnTo>
                  <a:lnTo>
                    <a:pt x="2631" y="1879"/>
                  </a:lnTo>
                  <a:lnTo>
                    <a:pt x="2637" y="1876"/>
                  </a:lnTo>
                  <a:lnTo>
                    <a:pt x="2645" y="1872"/>
                  </a:lnTo>
                  <a:lnTo>
                    <a:pt x="2653" y="1872"/>
                  </a:lnTo>
                  <a:lnTo>
                    <a:pt x="2653" y="1872"/>
                  </a:lnTo>
                  <a:lnTo>
                    <a:pt x="2662" y="1873"/>
                  </a:lnTo>
                  <a:lnTo>
                    <a:pt x="2670" y="1876"/>
                  </a:lnTo>
                  <a:lnTo>
                    <a:pt x="2677" y="1881"/>
                  </a:lnTo>
                  <a:lnTo>
                    <a:pt x="2682" y="1888"/>
                  </a:lnTo>
                  <a:lnTo>
                    <a:pt x="2686" y="1895"/>
                  </a:lnTo>
                  <a:lnTo>
                    <a:pt x="2689" y="1904"/>
                  </a:lnTo>
                  <a:lnTo>
                    <a:pt x="2691" y="1914"/>
                  </a:lnTo>
                  <a:lnTo>
                    <a:pt x="2692" y="1922"/>
                  </a:lnTo>
                  <a:lnTo>
                    <a:pt x="2613" y="1922"/>
                  </a:lnTo>
                  <a:close/>
                  <a:moveTo>
                    <a:pt x="2488" y="1986"/>
                  </a:moveTo>
                  <a:lnTo>
                    <a:pt x="2488" y="1986"/>
                  </a:lnTo>
                  <a:lnTo>
                    <a:pt x="2488" y="1995"/>
                  </a:lnTo>
                  <a:lnTo>
                    <a:pt x="2489" y="2001"/>
                  </a:lnTo>
                  <a:lnTo>
                    <a:pt x="2492" y="2007"/>
                  </a:lnTo>
                  <a:lnTo>
                    <a:pt x="2494" y="2012"/>
                  </a:lnTo>
                  <a:lnTo>
                    <a:pt x="2497" y="2016"/>
                  </a:lnTo>
                  <a:lnTo>
                    <a:pt x="2501" y="2018"/>
                  </a:lnTo>
                  <a:lnTo>
                    <a:pt x="2505" y="2020"/>
                  </a:lnTo>
                  <a:lnTo>
                    <a:pt x="2511" y="2020"/>
                  </a:lnTo>
                  <a:lnTo>
                    <a:pt x="2511" y="2020"/>
                  </a:lnTo>
                  <a:lnTo>
                    <a:pt x="2519" y="2020"/>
                  </a:lnTo>
                  <a:lnTo>
                    <a:pt x="2527" y="2017"/>
                  </a:lnTo>
                  <a:lnTo>
                    <a:pt x="2535" y="2013"/>
                  </a:lnTo>
                  <a:lnTo>
                    <a:pt x="2543" y="2009"/>
                  </a:lnTo>
                  <a:lnTo>
                    <a:pt x="2536" y="2066"/>
                  </a:lnTo>
                  <a:lnTo>
                    <a:pt x="2536" y="2066"/>
                  </a:lnTo>
                  <a:lnTo>
                    <a:pt x="2527" y="2071"/>
                  </a:lnTo>
                  <a:lnTo>
                    <a:pt x="2515" y="2075"/>
                  </a:lnTo>
                  <a:lnTo>
                    <a:pt x="2504" y="2077"/>
                  </a:lnTo>
                  <a:lnTo>
                    <a:pt x="2493" y="2079"/>
                  </a:lnTo>
                  <a:lnTo>
                    <a:pt x="2493" y="2079"/>
                  </a:lnTo>
                  <a:lnTo>
                    <a:pt x="2485" y="2077"/>
                  </a:lnTo>
                  <a:lnTo>
                    <a:pt x="2478" y="2076"/>
                  </a:lnTo>
                  <a:lnTo>
                    <a:pt x="2472" y="2074"/>
                  </a:lnTo>
                  <a:lnTo>
                    <a:pt x="2467" y="2071"/>
                  </a:lnTo>
                  <a:lnTo>
                    <a:pt x="2461" y="2068"/>
                  </a:lnTo>
                  <a:lnTo>
                    <a:pt x="2456" y="2064"/>
                  </a:lnTo>
                  <a:lnTo>
                    <a:pt x="2453" y="2059"/>
                  </a:lnTo>
                  <a:lnTo>
                    <a:pt x="2449" y="2053"/>
                  </a:lnTo>
                  <a:lnTo>
                    <a:pt x="2444" y="2042"/>
                  </a:lnTo>
                  <a:lnTo>
                    <a:pt x="2440" y="2028"/>
                  </a:lnTo>
                  <a:lnTo>
                    <a:pt x="2437" y="2016"/>
                  </a:lnTo>
                  <a:lnTo>
                    <a:pt x="2436" y="2002"/>
                  </a:lnTo>
                  <a:lnTo>
                    <a:pt x="2436" y="1882"/>
                  </a:lnTo>
                  <a:lnTo>
                    <a:pt x="2404" y="1882"/>
                  </a:lnTo>
                  <a:lnTo>
                    <a:pt x="2404" y="1825"/>
                  </a:lnTo>
                  <a:lnTo>
                    <a:pt x="2436" y="1825"/>
                  </a:lnTo>
                  <a:lnTo>
                    <a:pt x="2436" y="1761"/>
                  </a:lnTo>
                  <a:lnTo>
                    <a:pt x="2488" y="1731"/>
                  </a:lnTo>
                  <a:lnTo>
                    <a:pt x="2488" y="1825"/>
                  </a:lnTo>
                  <a:lnTo>
                    <a:pt x="2535" y="1825"/>
                  </a:lnTo>
                  <a:lnTo>
                    <a:pt x="2535" y="1882"/>
                  </a:lnTo>
                  <a:lnTo>
                    <a:pt x="2488" y="1882"/>
                  </a:lnTo>
                  <a:lnTo>
                    <a:pt x="2488" y="1986"/>
                  </a:lnTo>
                  <a:close/>
                  <a:moveTo>
                    <a:pt x="2387" y="2066"/>
                  </a:moveTo>
                  <a:lnTo>
                    <a:pt x="2387" y="2066"/>
                  </a:lnTo>
                  <a:lnTo>
                    <a:pt x="2378" y="2071"/>
                  </a:lnTo>
                  <a:lnTo>
                    <a:pt x="2368" y="2075"/>
                  </a:lnTo>
                  <a:lnTo>
                    <a:pt x="2356" y="2077"/>
                  </a:lnTo>
                  <a:lnTo>
                    <a:pt x="2345" y="2079"/>
                  </a:lnTo>
                  <a:lnTo>
                    <a:pt x="2345" y="2079"/>
                  </a:lnTo>
                  <a:lnTo>
                    <a:pt x="2336" y="2077"/>
                  </a:lnTo>
                  <a:lnTo>
                    <a:pt x="2330" y="2076"/>
                  </a:lnTo>
                  <a:lnTo>
                    <a:pt x="2324" y="2074"/>
                  </a:lnTo>
                  <a:lnTo>
                    <a:pt x="2318" y="2071"/>
                  </a:lnTo>
                  <a:lnTo>
                    <a:pt x="2314" y="2068"/>
                  </a:lnTo>
                  <a:lnTo>
                    <a:pt x="2308" y="2064"/>
                  </a:lnTo>
                  <a:lnTo>
                    <a:pt x="2304" y="2059"/>
                  </a:lnTo>
                  <a:lnTo>
                    <a:pt x="2301" y="2053"/>
                  </a:lnTo>
                  <a:lnTo>
                    <a:pt x="2295" y="2042"/>
                  </a:lnTo>
                  <a:lnTo>
                    <a:pt x="2292" y="2028"/>
                  </a:lnTo>
                  <a:lnTo>
                    <a:pt x="2289" y="2016"/>
                  </a:lnTo>
                  <a:lnTo>
                    <a:pt x="2289" y="2002"/>
                  </a:lnTo>
                  <a:lnTo>
                    <a:pt x="2289" y="1882"/>
                  </a:lnTo>
                  <a:lnTo>
                    <a:pt x="2256" y="1882"/>
                  </a:lnTo>
                  <a:lnTo>
                    <a:pt x="2256" y="1825"/>
                  </a:lnTo>
                  <a:lnTo>
                    <a:pt x="2289" y="1825"/>
                  </a:lnTo>
                  <a:lnTo>
                    <a:pt x="2289" y="1761"/>
                  </a:lnTo>
                  <a:lnTo>
                    <a:pt x="2341" y="1731"/>
                  </a:lnTo>
                  <a:lnTo>
                    <a:pt x="2341" y="1825"/>
                  </a:lnTo>
                  <a:lnTo>
                    <a:pt x="2384" y="1825"/>
                  </a:lnTo>
                  <a:lnTo>
                    <a:pt x="2384" y="1882"/>
                  </a:lnTo>
                  <a:lnTo>
                    <a:pt x="2341" y="1882"/>
                  </a:lnTo>
                  <a:lnTo>
                    <a:pt x="2341" y="1986"/>
                  </a:lnTo>
                  <a:lnTo>
                    <a:pt x="2341" y="1986"/>
                  </a:lnTo>
                  <a:lnTo>
                    <a:pt x="2341" y="1995"/>
                  </a:lnTo>
                  <a:lnTo>
                    <a:pt x="2342" y="2001"/>
                  </a:lnTo>
                  <a:lnTo>
                    <a:pt x="2344" y="2007"/>
                  </a:lnTo>
                  <a:lnTo>
                    <a:pt x="2346" y="2012"/>
                  </a:lnTo>
                  <a:lnTo>
                    <a:pt x="2349" y="2016"/>
                  </a:lnTo>
                  <a:lnTo>
                    <a:pt x="2353" y="2018"/>
                  </a:lnTo>
                  <a:lnTo>
                    <a:pt x="2357" y="2020"/>
                  </a:lnTo>
                  <a:lnTo>
                    <a:pt x="2362" y="2020"/>
                  </a:lnTo>
                  <a:lnTo>
                    <a:pt x="2362" y="2020"/>
                  </a:lnTo>
                  <a:lnTo>
                    <a:pt x="2371" y="2020"/>
                  </a:lnTo>
                  <a:lnTo>
                    <a:pt x="2379" y="2017"/>
                  </a:lnTo>
                  <a:lnTo>
                    <a:pt x="2386" y="2013"/>
                  </a:lnTo>
                  <a:lnTo>
                    <a:pt x="2394" y="2009"/>
                  </a:lnTo>
                  <a:lnTo>
                    <a:pt x="2387" y="2066"/>
                  </a:lnTo>
                  <a:close/>
                  <a:moveTo>
                    <a:pt x="2898" y="1894"/>
                  </a:moveTo>
                  <a:lnTo>
                    <a:pt x="2898" y="1894"/>
                  </a:lnTo>
                  <a:lnTo>
                    <a:pt x="2891" y="1888"/>
                  </a:lnTo>
                  <a:lnTo>
                    <a:pt x="2883" y="1884"/>
                  </a:lnTo>
                  <a:lnTo>
                    <a:pt x="2873" y="1882"/>
                  </a:lnTo>
                  <a:lnTo>
                    <a:pt x="2864" y="1881"/>
                  </a:lnTo>
                  <a:lnTo>
                    <a:pt x="2864" y="1881"/>
                  </a:lnTo>
                  <a:lnTo>
                    <a:pt x="2856" y="1882"/>
                  </a:lnTo>
                  <a:lnTo>
                    <a:pt x="2847" y="1884"/>
                  </a:lnTo>
                  <a:lnTo>
                    <a:pt x="2841" y="1889"/>
                  </a:lnTo>
                  <a:lnTo>
                    <a:pt x="2836" y="1895"/>
                  </a:lnTo>
                  <a:lnTo>
                    <a:pt x="2832" y="1903"/>
                  </a:lnTo>
                  <a:lnTo>
                    <a:pt x="2830" y="1913"/>
                  </a:lnTo>
                  <a:lnTo>
                    <a:pt x="2828" y="1925"/>
                  </a:lnTo>
                  <a:lnTo>
                    <a:pt x="2827" y="1938"/>
                  </a:lnTo>
                  <a:lnTo>
                    <a:pt x="2827" y="2072"/>
                  </a:lnTo>
                  <a:lnTo>
                    <a:pt x="2776" y="2072"/>
                  </a:lnTo>
                  <a:lnTo>
                    <a:pt x="2776" y="1825"/>
                  </a:lnTo>
                  <a:lnTo>
                    <a:pt x="2827" y="1825"/>
                  </a:lnTo>
                  <a:lnTo>
                    <a:pt x="2827" y="1846"/>
                  </a:lnTo>
                  <a:lnTo>
                    <a:pt x="2827" y="1846"/>
                  </a:lnTo>
                  <a:lnTo>
                    <a:pt x="2832" y="1840"/>
                  </a:lnTo>
                  <a:lnTo>
                    <a:pt x="2837" y="1834"/>
                  </a:lnTo>
                  <a:lnTo>
                    <a:pt x="2842" y="1830"/>
                  </a:lnTo>
                  <a:lnTo>
                    <a:pt x="2849" y="1827"/>
                  </a:lnTo>
                  <a:lnTo>
                    <a:pt x="2854" y="1823"/>
                  </a:lnTo>
                  <a:lnTo>
                    <a:pt x="2860" y="1822"/>
                  </a:lnTo>
                  <a:lnTo>
                    <a:pt x="2866" y="1820"/>
                  </a:lnTo>
                  <a:lnTo>
                    <a:pt x="2873" y="1819"/>
                  </a:lnTo>
                  <a:lnTo>
                    <a:pt x="2873" y="1819"/>
                  </a:lnTo>
                  <a:lnTo>
                    <a:pt x="2884" y="1820"/>
                  </a:lnTo>
                  <a:lnTo>
                    <a:pt x="2894" y="1824"/>
                  </a:lnTo>
                  <a:lnTo>
                    <a:pt x="2904" y="1828"/>
                  </a:lnTo>
                  <a:lnTo>
                    <a:pt x="2912" y="1834"/>
                  </a:lnTo>
                  <a:lnTo>
                    <a:pt x="2898" y="1894"/>
                  </a:lnTo>
                  <a:close/>
                  <a:moveTo>
                    <a:pt x="559" y="1766"/>
                  </a:moveTo>
                  <a:lnTo>
                    <a:pt x="559" y="1790"/>
                  </a:lnTo>
                  <a:lnTo>
                    <a:pt x="507" y="1790"/>
                  </a:lnTo>
                  <a:lnTo>
                    <a:pt x="507" y="1728"/>
                  </a:lnTo>
                  <a:lnTo>
                    <a:pt x="559" y="1728"/>
                  </a:lnTo>
                  <a:lnTo>
                    <a:pt x="559" y="1766"/>
                  </a:lnTo>
                  <a:close/>
                  <a:moveTo>
                    <a:pt x="919" y="1825"/>
                  </a:moveTo>
                  <a:lnTo>
                    <a:pt x="971" y="1825"/>
                  </a:lnTo>
                  <a:lnTo>
                    <a:pt x="971" y="1952"/>
                  </a:lnTo>
                  <a:lnTo>
                    <a:pt x="971" y="2072"/>
                  </a:lnTo>
                  <a:lnTo>
                    <a:pt x="919" y="2072"/>
                  </a:lnTo>
                  <a:lnTo>
                    <a:pt x="919" y="1825"/>
                  </a:lnTo>
                  <a:close/>
                  <a:moveTo>
                    <a:pt x="971" y="1759"/>
                  </a:moveTo>
                  <a:lnTo>
                    <a:pt x="971" y="1790"/>
                  </a:lnTo>
                  <a:lnTo>
                    <a:pt x="919" y="1790"/>
                  </a:lnTo>
                  <a:lnTo>
                    <a:pt x="919" y="1728"/>
                  </a:lnTo>
                  <a:lnTo>
                    <a:pt x="971" y="1728"/>
                  </a:lnTo>
                  <a:lnTo>
                    <a:pt x="971" y="1759"/>
                  </a:lnTo>
                  <a:close/>
                  <a:moveTo>
                    <a:pt x="2395" y="2275"/>
                  </a:moveTo>
                  <a:lnTo>
                    <a:pt x="2395" y="2275"/>
                  </a:lnTo>
                  <a:lnTo>
                    <a:pt x="2390" y="2270"/>
                  </a:lnTo>
                  <a:lnTo>
                    <a:pt x="2384" y="2265"/>
                  </a:lnTo>
                  <a:lnTo>
                    <a:pt x="2379" y="2262"/>
                  </a:lnTo>
                  <a:lnTo>
                    <a:pt x="2373" y="2258"/>
                  </a:lnTo>
                  <a:lnTo>
                    <a:pt x="2368" y="2256"/>
                  </a:lnTo>
                  <a:lnTo>
                    <a:pt x="2361" y="2254"/>
                  </a:lnTo>
                  <a:lnTo>
                    <a:pt x="2348" y="2252"/>
                  </a:lnTo>
                  <a:lnTo>
                    <a:pt x="2348" y="2252"/>
                  </a:lnTo>
                  <a:lnTo>
                    <a:pt x="2339" y="2253"/>
                  </a:lnTo>
                  <a:lnTo>
                    <a:pt x="2330" y="2254"/>
                  </a:lnTo>
                  <a:lnTo>
                    <a:pt x="2322" y="2258"/>
                  </a:lnTo>
                  <a:lnTo>
                    <a:pt x="2314" y="2262"/>
                  </a:lnTo>
                  <a:lnTo>
                    <a:pt x="2306" y="2267"/>
                  </a:lnTo>
                  <a:lnTo>
                    <a:pt x="2300" y="2272"/>
                  </a:lnTo>
                  <a:lnTo>
                    <a:pt x="2294" y="2279"/>
                  </a:lnTo>
                  <a:lnTo>
                    <a:pt x="2288" y="2286"/>
                  </a:lnTo>
                  <a:lnTo>
                    <a:pt x="2283" y="2295"/>
                  </a:lnTo>
                  <a:lnTo>
                    <a:pt x="2278" y="2305"/>
                  </a:lnTo>
                  <a:lnTo>
                    <a:pt x="2275" y="2315"/>
                  </a:lnTo>
                  <a:lnTo>
                    <a:pt x="2272" y="2327"/>
                  </a:lnTo>
                  <a:lnTo>
                    <a:pt x="2269" y="2338"/>
                  </a:lnTo>
                  <a:lnTo>
                    <a:pt x="2268" y="2352"/>
                  </a:lnTo>
                  <a:lnTo>
                    <a:pt x="2267" y="2365"/>
                  </a:lnTo>
                  <a:lnTo>
                    <a:pt x="2266" y="2380"/>
                  </a:lnTo>
                  <a:lnTo>
                    <a:pt x="2266" y="2380"/>
                  </a:lnTo>
                  <a:lnTo>
                    <a:pt x="2267" y="2395"/>
                  </a:lnTo>
                  <a:lnTo>
                    <a:pt x="2268" y="2408"/>
                  </a:lnTo>
                  <a:lnTo>
                    <a:pt x="2269" y="2422"/>
                  </a:lnTo>
                  <a:lnTo>
                    <a:pt x="2272" y="2435"/>
                  </a:lnTo>
                  <a:lnTo>
                    <a:pt x="2274" y="2446"/>
                  </a:lnTo>
                  <a:lnTo>
                    <a:pt x="2278" y="2457"/>
                  </a:lnTo>
                  <a:lnTo>
                    <a:pt x="2282" y="2467"/>
                  </a:lnTo>
                  <a:lnTo>
                    <a:pt x="2288" y="2476"/>
                  </a:lnTo>
                  <a:lnTo>
                    <a:pt x="2293" y="2484"/>
                  </a:lnTo>
                  <a:lnTo>
                    <a:pt x="2299" y="2490"/>
                  </a:lnTo>
                  <a:lnTo>
                    <a:pt x="2305" y="2497"/>
                  </a:lnTo>
                  <a:lnTo>
                    <a:pt x="2313" y="2502"/>
                  </a:lnTo>
                  <a:lnTo>
                    <a:pt x="2321" y="2506"/>
                  </a:lnTo>
                  <a:lnTo>
                    <a:pt x="2329" y="2509"/>
                  </a:lnTo>
                  <a:lnTo>
                    <a:pt x="2338" y="2510"/>
                  </a:lnTo>
                  <a:lnTo>
                    <a:pt x="2347" y="2511"/>
                  </a:lnTo>
                  <a:lnTo>
                    <a:pt x="2347" y="2511"/>
                  </a:lnTo>
                  <a:lnTo>
                    <a:pt x="2353" y="2510"/>
                  </a:lnTo>
                  <a:lnTo>
                    <a:pt x="2360" y="2509"/>
                  </a:lnTo>
                  <a:lnTo>
                    <a:pt x="2367" y="2508"/>
                  </a:lnTo>
                  <a:lnTo>
                    <a:pt x="2372" y="2505"/>
                  </a:lnTo>
                  <a:lnTo>
                    <a:pt x="2378" y="2502"/>
                  </a:lnTo>
                  <a:lnTo>
                    <a:pt x="2384" y="2498"/>
                  </a:lnTo>
                  <a:lnTo>
                    <a:pt x="2390" y="2493"/>
                  </a:lnTo>
                  <a:lnTo>
                    <a:pt x="2395" y="2487"/>
                  </a:lnTo>
                  <a:lnTo>
                    <a:pt x="2395" y="2505"/>
                  </a:lnTo>
                  <a:lnTo>
                    <a:pt x="2447" y="2505"/>
                  </a:lnTo>
                  <a:lnTo>
                    <a:pt x="2447" y="2155"/>
                  </a:lnTo>
                  <a:lnTo>
                    <a:pt x="2395" y="2186"/>
                  </a:lnTo>
                  <a:lnTo>
                    <a:pt x="2395" y="2275"/>
                  </a:lnTo>
                  <a:close/>
                  <a:moveTo>
                    <a:pt x="2358" y="2455"/>
                  </a:moveTo>
                  <a:lnTo>
                    <a:pt x="2358" y="2455"/>
                  </a:lnTo>
                  <a:lnTo>
                    <a:pt x="2351" y="2454"/>
                  </a:lnTo>
                  <a:lnTo>
                    <a:pt x="2345" y="2451"/>
                  </a:lnTo>
                  <a:lnTo>
                    <a:pt x="2338" y="2447"/>
                  </a:lnTo>
                  <a:lnTo>
                    <a:pt x="2331" y="2440"/>
                  </a:lnTo>
                  <a:lnTo>
                    <a:pt x="2326" y="2430"/>
                  </a:lnTo>
                  <a:lnTo>
                    <a:pt x="2322" y="2417"/>
                  </a:lnTo>
                  <a:lnTo>
                    <a:pt x="2320" y="2399"/>
                  </a:lnTo>
                  <a:lnTo>
                    <a:pt x="2319" y="2377"/>
                  </a:lnTo>
                  <a:lnTo>
                    <a:pt x="2319" y="2377"/>
                  </a:lnTo>
                  <a:lnTo>
                    <a:pt x="2320" y="2359"/>
                  </a:lnTo>
                  <a:lnTo>
                    <a:pt x="2322" y="2343"/>
                  </a:lnTo>
                  <a:lnTo>
                    <a:pt x="2326" y="2331"/>
                  </a:lnTo>
                  <a:lnTo>
                    <a:pt x="2331" y="2322"/>
                  </a:lnTo>
                  <a:lnTo>
                    <a:pt x="2338" y="2316"/>
                  </a:lnTo>
                  <a:lnTo>
                    <a:pt x="2344" y="2311"/>
                  </a:lnTo>
                  <a:lnTo>
                    <a:pt x="2351" y="2310"/>
                  </a:lnTo>
                  <a:lnTo>
                    <a:pt x="2357" y="2308"/>
                  </a:lnTo>
                  <a:lnTo>
                    <a:pt x="2357" y="2308"/>
                  </a:lnTo>
                  <a:lnTo>
                    <a:pt x="2365" y="2310"/>
                  </a:lnTo>
                  <a:lnTo>
                    <a:pt x="2371" y="2311"/>
                  </a:lnTo>
                  <a:lnTo>
                    <a:pt x="2376" y="2313"/>
                  </a:lnTo>
                  <a:lnTo>
                    <a:pt x="2381" y="2317"/>
                  </a:lnTo>
                  <a:lnTo>
                    <a:pt x="2385" y="2321"/>
                  </a:lnTo>
                  <a:lnTo>
                    <a:pt x="2390" y="2324"/>
                  </a:lnTo>
                  <a:lnTo>
                    <a:pt x="2395" y="2333"/>
                  </a:lnTo>
                  <a:lnTo>
                    <a:pt x="2395" y="2430"/>
                  </a:lnTo>
                  <a:lnTo>
                    <a:pt x="2395" y="2430"/>
                  </a:lnTo>
                  <a:lnTo>
                    <a:pt x="2389" y="2439"/>
                  </a:lnTo>
                  <a:lnTo>
                    <a:pt x="2381" y="2446"/>
                  </a:lnTo>
                  <a:lnTo>
                    <a:pt x="2376" y="2450"/>
                  </a:lnTo>
                  <a:lnTo>
                    <a:pt x="2371" y="2452"/>
                  </a:lnTo>
                  <a:lnTo>
                    <a:pt x="2365" y="2454"/>
                  </a:lnTo>
                  <a:lnTo>
                    <a:pt x="2358" y="2455"/>
                  </a:lnTo>
                  <a:lnTo>
                    <a:pt x="2358" y="2455"/>
                  </a:lnTo>
                  <a:close/>
                  <a:moveTo>
                    <a:pt x="634" y="2327"/>
                  </a:moveTo>
                  <a:lnTo>
                    <a:pt x="634" y="2327"/>
                  </a:lnTo>
                  <a:lnTo>
                    <a:pt x="627" y="2322"/>
                  </a:lnTo>
                  <a:lnTo>
                    <a:pt x="618" y="2317"/>
                  </a:lnTo>
                  <a:lnTo>
                    <a:pt x="609" y="2315"/>
                  </a:lnTo>
                  <a:lnTo>
                    <a:pt x="599" y="2313"/>
                  </a:lnTo>
                  <a:lnTo>
                    <a:pt x="599" y="2313"/>
                  </a:lnTo>
                  <a:lnTo>
                    <a:pt x="591" y="2315"/>
                  </a:lnTo>
                  <a:lnTo>
                    <a:pt x="583" y="2317"/>
                  </a:lnTo>
                  <a:lnTo>
                    <a:pt x="577" y="2322"/>
                  </a:lnTo>
                  <a:lnTo>
                    <a:pt x="571" y="2328"/>
                  </a:lnTo>
                  <a:lnTo>
                    <a:pt x="567" y="2336"/>
                  </a:lnTo>
                  <a:lnTo>
                    <a:pt x="565" y="2345"/>
                  </a:lnTo>
                  <a:lnTo>
                    <a:pt x="563" y="2358"/>
                  </a:lnTo>
                  <a:lnTo>
                    <a:pt x="562" y="2371"/>
                  </a:lnTo>
                  <a:lnTo>
                    <a:pt x="562" y="2505"/>
                  </a:lnTo>
                  <a:lnTo>
                    <a:pt x="511" y="2505"/>
                  </a:lnTo>
                  <a:lnTo>
                    <a:pt x="511" y="2258"/>
                  </a:lnTo>
                  <a:lnTo>
                    <a:pt x="562" y="2258"/>
                  </a:lnTo>
                  <a:lnTo>
                    <a:pt x="562" y="2279"/>
                  </a:lnTo>
                  <a:lnTo>
                    <a:pt x="562" y="2279"/>
                  </a:lnTo>
                  <a:lnTo>
                    <a:pt x="567" y="2273"/>
                  </a:lnTo>
                  <a:lnTo>
                    <a:pt x="572" y="2267"/>
                  </a:lnTo>
                  <a:lnTo>
                    <a:pt x="578" y="2263"/>
                  </a:lnTo>
                  <a:lnTo>
                    <a:pt x="584" y="2259"/>
                  </a:lnTo>
                  <a:lnTo>
                    <a:pt x="589" y="2256"/>
                  </a:lnTo>
                  <a:lnTo>
                    <a:pt x="595" y="2254"/>
                  </a:lnTo>
                  <a:lnTo>
                    <a:pt x="603" y="2253"/>
                  </a:lnTo>
                  <a:lnTo>
                    <a:pt x="609" y="2252"/>
                  </a:lnTo>
                  <a:lnTo>
                    <a:pt x="609" y="2252"/>
                  </a:lnTo>
                  <a:lnTo>
                    <a:pt x="619" y="2253"/>
                  </a:lnTo>
                  <a:lnTo>
                    <a:pt x="630" y="2257"/>
                  </a:lnTo>
                  <a:lnTo>
                    <a:pt x="640" y="2262"/>
                  </a:lnTo>
                  <a:lnTo>
                    <a:pt x="648" y="2268"/>
                  </a:lnTo>
                  <a:lnTo>
                    <a:pt x="634" y="2327"/>
                  </a:lnTo>
                  <a:close/>
                  <a:moveTo>
                    <a:pt x="227" y="2258"/>
                  </a:moveTo>
                  <a:lnTo>
                    <a:pt x="278" y="2258"/>
                  </a:lnTo>
                  <a:lnTo>
                    <a:pt x="219" y="2505"/>
                  </a:lnTo>
                  <a:lnTo>
                    <a:pt x="174" y="2505"/>
                  </a:lnTo>
                  <a:lnTo>
                    <a:pt x="151" y="2403"/>
                  </a:lnTo>
                  <a:lnTo>
                    <a:pt x="151" y="2403"/>
                  </a:lnTo>
                  <a:lnTo>
                    <a:pt x="139" y="2349"/>
                  </a:lnTo>
                  <a:lnTo>
                    <a:pt x="139" y="2349"/>
                  </a:lnTo>
                  <a:lnTo>
                    <a:pt x="134" y="2375"/>
                  </a:lnTo>
                  <a:lnTo>
                    <a:pt x="128" y="2404"/>
                  </a:lnTo>
                  <a:lnTo>
                    <a:pt x="104" y="2505"/>
                  </a:lnTo>
                  <a:lnTo>
                    <a:pt x="59" y="2505"/>
                  </a:lnTo>
                  <a:lnTo>
                    <a:pt x="59" y="2504"/>
                  </a:lnTo>
                  <a:lnTo>
                    <a:pt x="0" y="2258"/>
                  </a:lnTo>
                  <a:lnTo>
                    <a:pt x="54" y="2258"/>
                  </a:lnTo>
                  <a:lnTo>
                    <a:pt x="73" y="2350"/>
                  </a:lnTo>
                  <a:lnTo>
                    <a:pt x="73" y="2350"/>
                  </a:lnTo>
                  <a:lnTo>
                    <a:pt x="78" y="2380"/>
                  </a:lnTo>
                  <a:lnTo>
                    <a:pt x="83" y="2411"/>
                  </a:lnTo>
                  <a:lnTo>
                    <a:pt x="83" y="2411"/>
                  </a:lnTo>
                  <a:lnTo>
                    <a:pt x="90" y="2380"/>
                  </a:lnTo>
                  <a:lnTo>
                    <a:pt x="96" y="2349"/>
                  </a:lnTo>
                  <a:lnTo>
                    <a:pt x="118" y="2258"/>
                  </a:lnTo>
                  <a:lnTo>
                    <a:pt x="162" y="2258"/>
                  </a:lnTo>
                  <a:lnTo>
                    <a:pt x="184" y="2349"/>
                  </a:lnTo>
                  <a:lnTo>
                    <a:pt x="184" y="2349"/>
                  </a:lnTo>
                  <a:lnTo>
                    <a:pt x="190" y="2379"/>
                  </a:lnTo>
                  <a:lnTo>
                    <a:pt x="197" y="2412"/>
                  </a:lnTo>
                  <a:lnTo>
                    <a:pt x="197" y="2412"/>
                  </a:lnTo>
                  <a:lnTo>
                    <a:pt x="201" y="2383"/>
                  </a:lnTo>
                  <a:lnTo>
                    <a:pt x="207" y="2349"/>
                  </a:lnTo>
                  <a:lnTo>
                    <a:pt x="227" y="2258"/>
                  </a:lnTo>
                  <a:close/>
                  <a:moveTo>
                    <a:pt x="383" y="2252"/>
                  </a:moveTo>
                  <a:lnTo>
                    <a:pt x="383" y="2252"/>
                  </a:lnTo>
                  <a:lnTo>
                    <a:pt x="374" y="2253"/>
                  </a:lnTo>
                  <a:lnTo>
                    <a:pt x="363" y="2254"/>
                  </a:lnTo>
                  <a:lnTo>
                    <a:pt x="354" y="2258"/>
                  </a:lnTo>
                  <a:lnTo>
                    <a:pt x="346" y="2262"/>
                  </a:lnTo>
                  <a:lnTo>
                    <a:pt x="337" y="2267"/>
                  </a:lnTo>
                  <a:lnTo>
                    <a:pt x="329" y="2273"/>
                  </a:lnTo>
                  <a:lnTo>
                    <a:pt x="322" y="2280"/>
                  </a:lnTo>
                  <a:lnTo>
                    <a:pt x="315" y="2289"/>
                  </a:lnTo>
                  <a:lnTo>
                    <a:pt x="309" y="2297"/>
                  </a:lnTo>
                  <a:lnTo>
                    <a:pt x="304" y="2307"/>
                  </a:lnTo>
                  <a:lnTo>
                    <a:pt x="299" y="2318"/>
                  </a:lnTo>
                  <a:lnTo>
                    <a:pt x="296" y="2329"/>
                  </a:lnTo>
                  <a:lnTo>
                    <a:pt x="292" y="2342"/>
                  </a:lnTo>
                  <a:lnTo>
                    <a:pt x="290" y="2354"/>
                  </a:lnTo>
                  <a:lnTo>
                    <a:pt x="288" y="2367"/>
                  </a:lnTo>
                  <a:lnTo>
                    <a:pt x="288" y="2382"/>
                  </a:lnTo>
                  <a:lnTo>
                    <a:pt x="288" y="2382"/>
                  </a:lnTo>
                  <a:lnTo>
                    <a:pt x="288" y="2396"/>
                  </a:lnTo>
                  <a:lnTo>
                    <a:pt x="290" y="2409"/>
                  </a:lnTo>
                  <a:lnTo>
                    <a:pt x="292" y="2422"/>
                  </a:lnTo>
                  <a:lnTo>
                    <a:pt x="296" y="2434"/>
                  </a:lnTo>
                  <a:lnTo>
                    <a:pt x="299" y="2445"/>
                  </a:lnTo>
                  <a:lnTo>
                    <a:pt x="304" y="2456"/>
                  </a:lnTo>
                  <a:lnTo>
                    <a:pt x="309" y="2466"/>
                  </a:lnTo>
                  <a:lnTo>
                    <a:pt x="315" y="2474"/>
                  </a:lnTo>
                  <a:lnTo>
                    <a:pt x="322" y="2483"/>
                  </a:lnTo>
                  <a:lnTo>
                    <a:pt x="329" y="2490"/>
                  </a:lnTo>
                  <a:lnTo>
                    <a:pt x="337" y="2497"/>
                  </a:lnTo>
                  <a:lnTo>
                    <a:pt x="346" y="2502"/>
                  </a:lnTo>
                  <a:lnTo>
                    <a:pt x="354" y="2505"/>
                  </a:lnTo>
                  <a:lnTo>
                    <a:pt x="363" y="2509"/>
                  </a:lnTo>
                  <a:lnTo>
                    <a:pt x="374" y="2510"/>
                  </a:lnTo>
                  <a:lnTo>
                    <a:pt x="383" y="2511"/>
                  </a:lnTo>
                  <a:lnTo>
                    <a:pt x="383" y="2511"/>
                  </a:lnTo>
                  <a:lnTo>
                    <a:pt x="393" y="2510"/>
                  </a:lnTo>
                  <a:lnTo>
                    <a:pt x="404" y="2509"/>
                  </a:lnTo>
                  <a:lnTo>
                    <a:pt x="413" y="2505"/>
                  </a:lnTo>
                  <a:lnTo>
                    <a:pt x="422" y="2502"/>
                  </a:lnTo>
                  <a:lnTo>
                    <a:pt x="430" y="2497"/>
                  </a:lnTo>
                  <a:lnTo>
                    <a:pt x="438" y="2490"/>
                  </a:lnTo>
                  <a:lnTo>
                    <a:pt x="445" y="2483"/>
                  </a:lnTo>
                  <a:lnTo>
                    <a:pt x="452" y="2474"/>
                  </a:lnTo>
                  <a:lnTo>
                    <a:pt x="458" y="2466"/>
                  </a:lnTo>
                  <a:lnTo>
                    <a:pt x="463" y="2456"/>
                  </a:lnTo>
                  <a:lnTo>
                    <a:pt x="467" y="2445"/>
                  </a:lnTo>
                  <a:lnTo>
                    <a:pt x="471" y="2434"/>
                  </a:lnTo>
                  <a:lnTo>
                    <a:pt x="475" y="2422"/>
                  </a:lnTo>
                  <a:lnTo>
                    <a:pt x="477" y="2409"/>
                  </a:lnTo>
                  <a:lnTo>
                    <a:pt x="479" y="2396"/>
                  </a:lnTo>
                  <a:lnTo>
                    <a:pt x="479" y="2382"/>
                  </a:lnTo>
                  <a:lnTo>
                    <a:pt x="479" y="2382"/>
                  </a:lnTo>
                  <a:lnTo>
                    <a:pt x="479" y="2367"/>
                  </a:lnTo>
                  <a:lnTo>
                    <a:pt x="477" y="2354"/>
                  </a:lnTo>
                  <a:lnTo>
                    <a:pt x="475" y="2342"/>
                  </a:lnTo>
                  <a:lnTo>
                    <a:pt x="471" y="2329"/>
                  </a:lnTo>
                  <a:lnTo>
                    <a:pt x="467" y="2318"/>
                  </a:lnTo>
                  <a:lnTo>
                    <a:pt x="463" y="2307"/>
                  </a:lnTo>
                  <a:lnTo>
                    <a:pt x="458" y="2297"/>
                  </a:lnTo>
                  <a:lnTo>
                    <a:pt x="452" y="2289"/>
                  </a:lnTo>
                  <a:lnTo>
                    <a:pt x="445" y="2280"/>
                  </a:lnTo>
                  <a:lnTo>
                    <a:pt x="438" y="2273"/>
                  </a:lnTo>
                  <a:lnTo>
                    <a:pt x="430" y="2267"/>
                  </a:lnTo>
                  <a:lnTo>
                    <a:pt x="422" y="2262"/>
                  </a:lnTo>
                  <a:lnTo>
                    <a:pt x="413" y="2258"/>
                  </a:lnTo>
                  <a:lnTo>
                    <a:pt x="404" y="2254"/>
                  </a:lnTo>
                  <a:lnTo>
                    <a:pt x="393" y="2253"/>
                  </a:lnTo>
                  <a:lnTo>
                    <a:pt x="383" y="2252"/>
                  </a:lnTo>
                  <a:lnTo>
                    <a:pt x="383" y="2252"/>
                  </a:lnTo>
                  <a:close/>
                  <a:moveTo>
                    <a:pt x="383" y="2454"/>
                  </a:moveTo>
                  <a:lnTo>
                    <a:pt x="383" y="2454"/>
                  </a:lnTo>
                  <a:lnTo>
                    <a:pt x="374" y="2452"/>
                  </a:lnTo>
                  <a:lnTo>
                    <a:pt x="365" y="2449"/>
                  </a:lnTo>
                  <a:lnTo>
                    <a:pt x="359" y="2442"/>
                  </a:lnTo>
                  <a:lnTo>
                    <a:pt x="353" y="2434"/>
                  </a:lnTo>
                  <a:lnTo>
                    <a:pt x="348" y="2424"/>
                  </a:lnTo>
                  <a:lnTo>
                    <a:pt x="343" y="2412"/>
                  </a:lnTo>
                  <a:lnTo>
                    <a:pt x="341" y="2397"/>
                  </a:lnTo>
                  <a:lnTo>
                    <a:pt x="341" y="2382"/>
                  </a:lnTo>
                  <a:lnTo>
                    <a:pt x="341" y="2382"/>
                  </a:lnTo>
                  <a:lnTo>
                    <a:pt x="341" y="2366"/>
                  </a:lnTo>
                  <a:lnTo>
                    <a:pt x="343" y="2352"/>
                  </a:lnTo>
                  <a:lnTo>
                    <a:pt x="348" y="2340"/>
                  </a:lnTo>
                  <a:lnTo>
                    <a:pt x="353" y="2329"/>
                  </a:lnTo>
                  <a:lnTo>
                    <a:pt x="359" y="2321"/>
                  </a:lnTo>
                  <a:lnTo>
                    <a:pt x="365" y="2315"/>
                  </a:lnTo>
                  <a:lnTo>
                    <a:pt x="374" y="2311"/>
                  </a:lnTo>
                  <a:lnTo>
                    <a:pt x="383" y="2310"/>
                  </a:lnTo>
                  <a:lnTo>
                    <a:pt x="383" y="2310"/>
                  </a:lnTo>
                  <a:lnTo>
                    <a:pt x="392" y="2311"/>
                  </a:lnTo>
                  <a:lnTo>
                    <a:pt x="401" y="2315"/>
                  </a:lnTo>
                  <a:lnTo>
                    <a:pt x="408" y="2321"/>
                  </a:lnTo>
                  <a:lnTo>
                    <a:pt x="414" y="2329"/>
                  </a:lnTo>
                  <a:lnTo>
                    <a:pt x="419" y="2340"/>
                  </a:lnTo>
                  <a:lnTo>
                    <a:pt x="423" y="2352"/>
                  </a:lnTo>
                  <a:lnTo>
                    <a:pt x="425" y="2366"/>
                  </a:lnTo>
                  <a:lnTo>
                    <a:pt x="426" y="2382"/>
                  </a:lnTo>
                  <a:lnTo>
                    <a:pt x="426" y="2382"/>
                  </a:lnTo>
                  <a:lnTo>
                    <a:pt x="425" y="2397"/>
                  </a:lnTo>
                  <a:lnTo>
                    <a:pt x="423" y="2412"/>
                  </a:lnTo>
                  <a:lnTo>
                    <a:pt x="419" y="2424"/>
                  </a:lnTo>
                  <a:lnTo>
                    <a:pt x="414" y="2434"/>
                  </a:lnTo>
                  <a:lnTo>
                    <a:pt x="408" y="2442"/>
                  </a:lnTo>
                  <a:lnTo>
                    <a:pt x="401" y="2449"/>
                  </a:lnTo>
                  <a:lnTo>
                    <a:pt x="392" y="2452"/>
                  </a:lnTo>
                  <a:lnTo>
                    <a:pt x="383" y="2454"/>
                  </a:lnTo>
                  <a:lnTo>
                    <a:pt x="383" y="2454"/>
                  </a:lnTo>
                  <a:close/>
                  <a:moveTo>
                    <a:pt x="2140" y="2327"/>
                  </a:moveTo>
                  <a:lnTo>
                    <a:pt x="2140" y="2327"/>
                  </a:lnTo>
                  <a:lnTo>
                    <a:pt x="2131" y="2322"/>
                  </a:lnTo>
                  <a:lnTo>
                    <a:pt x="2123" y="2317"/>
                  </a:lnTo>
                  <a:lnTo>
                    <a:pt x="2114" y="2315"/>
                  </a:lnTo>
                  <a:lnTo>
                    <a:pt x="2105" y="2313"/>
                  </a:lnTo>
                  <a:lnTo>
                    <a:pt x="2105" y="2313"/>
                  </a:lnTo>
                  <a:lnTo>
                    <a:pt x="2096" y="2315"/>
                  </a:lnTo>
                  <a:lnTo>
                    <a:pt x="2089" y="2317"/>
                  </a:lnTo>
                  <a:lnTo>
                    <a:pt x="2083" y="2322"/>
                  </a:lnTo>
                  <a:lnTo>
                    <a:pt x="2077" y="2328"/>
                  </a:lnTo>
                  <a:lnTo>
                    <a:pt x="2073" y="2336"/>
                  </a:lnTo>
                  <a:lnTo>
                    <a:pt x="2070" y="2345"/>
                  </a:lnTo>
                  <a:lnTo>
                    <a:pt x="2068" y="2358"/>
                  </a:lnTo>
                  <a:lnTo>
                    <a:pt x="2068" y="2371"/>
                  </a:lnTo>
                  <a:lnTo>
                    <a:pt x="2068" y="2505"/>
                  </a:lnTo>
                  <a:lnTo>
                    <a:pt x="2016" y="2505"/>
                  </a:lnTo>
                  <a:lnTo>
                    <a:pt x="2016" y="2258"/>
                  </a:lnTo>
                  <a:lnTo>
                    <a:pt x="2068" y="2258"/>
                  </a:lnTo>
                  <a:lnTo>
                    <a:pt x="2068" y="2279"/>
                  </a:lnTo>
                  <a:lnTo>
                    <a:pt x="2068" y="2279"/>
                  </a:lnTo>
                  <a:lnTo>
                    <a:pt x="2072" y="2273"/>
                  </a:lnTo>
                  <a:lnTo>
                    <a:pt x="2077" y="2267"/>
                  </a:lnTo>
                  <a:lnTo>
                    <a:pt x="2083" y="2263"/>
                  </a:lnTo>
                  <a:lnTo>
                    <a:pt x="2089" y="2259"/>
                  </a:lnTo>
                  <a:lnTo>
                    <a:pt x="2095" y="2256"/>
                  </a:lnTo>
                  <a:lnTo>
                    <a:pt x="2101" y="2254"/>
                  </a:lnTo>
                  <a:lnTo>
                    <a:pt x="2108" y="2253"/>
                  </a:lnTo>
                  <a:lnTo>
                    <a:pt x="2114" y="2252"/>
                  </a:lnTo>
                  <a:lnTo>
                    <a:pt x="2114" y="2252"/>
                  </a:lnTo>
                  <a:lnTo>
                    <a:pt x="2124" y="2253"/>
                  </a:lnTo>
                  <a:lnTo>
                    <a:pt x="2135" y="2257"/>
                  </a:lnTo>
                  <a:lnTo>
                    <a:pt x="2145" y="2262"/>
                  </a:lnTo>
                  <a:lnTo>
                    <a:pt x="2153" y="2268"/>
                  </a:lnTo>
                  <a:lnTo>
                    <a:pt x="2140" y="2327"/>
                  </a:lnTo>
                  <a:close/>
                  <a:moveTo>
                    <a:pt x="1732" y="2258"/>
                  </a:moveTo>
                  <a:lnTo>
                    <a:pt x="1783" y="2258"/>
                  </a:lnTo>
                  <a:lnTo>
                    <a:pt x="1723" y="2505"/>
                  </a:lnTo>
                  <a:lnTo>
                    <a:pt x="1679" y="2505"/>
                  </a:lnTo>
                  <a:lnTo>
                    <a:pt x="1656" y="2403"/>
                  </a:lnTo>
                  <a:lnTo>
                    <a:pt x="1656" y="2403"/>
                  </a:lnTo>
                  <a:lnTo>
                    <a:pt x="1644" y="2349"/>
                  </a:lnTo>
                  <a:lnTo>
                    <a:pt x="1644" y="2349"/>
                  </a:lnTo>
                  <a:lnTo>
                    <a:pt x="1639" y="2375"/>
                  </a:lnTo>
                  <a:lnTo>
                    <a:pt x="1633" y="2404"/>
                  </a:lnTo>
                  <a:lnTo>
                    <a:pt x="1610" y="2505"/>
                  </a:lnTo>
                  <a:lnTo>
                    <a:pt x="1565" y="2505"/>
                  </a:lnTo>
                  <a:lnTo>
                    <a:pt x="1564" y="2504"/>
                  </a:lnTo>
                  <a:lnTo>
                    <a:pt x="1506" y="2258"/>
                  </a:lnTo>
                  <a:lnTo>
                    <a:pt x="1559" y="2258"/>
                  </a:lnTo>
                  <a:lnTo>
                    <a:pt x="1579" y="2350"/>
                  </a:lnTo>
                  <a:lnTo>
                    <a:pt x="1579" y="2350"/>
                  </a:lnTo>
                  <a:lnTo>
                    <a:pt x="1584" y="2380"/>
                  </a:lnTo>
                  <a:lnTo>
                    <a:pt x="1589" y="2411"/>
                  </a:lnTo>
                  <a:lnTo>
                    <a:pt x="1589" y="2411"/>
                  </a:lnTo>
                  <a:lnTo>
                    <a:pt x="1594" y="2380"/>
                  </a:lnTo>
                  <a:lnTo>
                    <a:pt x="1602" y="2349"/>
                  </a:lnTo>
                  <a:lnTo>
                    <a:pt x="1624" y="2258"/>
                  </a:lnTo>
                  <a:lnTo>
                    <a:pt x="1667" y="2258"/>
                  </a:lnTo>
                  <a:lnTo>
                    <a:pt x="1689" y="2349"/>
                  </a:lnTo>
                  <a:lnTo>
                    <a:pt x="1689" y="2349"/>
                  </a:lnTo>
                  <a:lnTo>
                    <a:pt x="1695" y="2379"/>
                  </a:lnTo>
                  <a:lnTo>
                    <a:pt x="1702" y="2412"/>
                  </a:lnTo>
                  <a:lnTo>
                    <a:pt x="1702" y="2412"/>
                  </a:lnTo>
                  <a:lnTo>
                    <a:pt x="1707" y="2383"/>
                  </a:lnTo>
                  <a:lnTo>
                    <a:pt x="1713" y="2349"/>
                  </a:lnTo>
                  <a:lnTo>
                    <a:pt x="1732" y="2258"/>
                  </a:lnTo>
                  <a:close/>
                  <a:moveTo>
                    <a:pt x="1888" y="2252"/>
                  </a:moveTo>
                  <a:lnTo>
                    <a:pt x="1888" y="2252"/>
                  </a:lnTo>
                  <a:lnTo>
                    <a:pt x="1879" y="2253"/>
                  </a:lnTo>
                  <a:lnTo>
                    <a:pt x="1868" y="2254"/>
                  </a:lnTo>
                  <a:lnTo>
                    <a:pt x="1859" y="2258"/>
                  </a:lnTo>
                  <a:lnTo>
                    <a:pt x="1850" y="2262"/>
                  </a:lnTo>
                  <a:lnTo>
                    <a:pt x="1842" y="2267"/>
                  </a:lnTo>
                  <a:lnTo>
                    <a:pt x="1834" y="2274"/>
                  </a:lnTo>
                  <a:lnTo>
                    <a:pt x="1827" y="2280"/>
                  </a:lnTo>
                  <a:lnTo>
                    <a:pt x="1820" y="2289"/>
                  </a:lnTo>
                  <a:lnTo>
                    <a:pt x="1814" y="2297"/>
                  </a:lnTo>
                  <a:lnTo>
                    <a:pt x="1809" y="2307"/>
                  </a:lnTo>
                  <a:lnTo>
                    <a:pt x="1804" y="2318"/>
                  </a:lnTo>
                  <a:lnTo>
                    <a:pt x="1800" y="2329"/>
                  </a:lnTo>
                  <a:lnTo>
                    <a:pt x="1797" y="2342"/>
                  </a:lnTo>
                  <a:lnTo>
                    <a:pt x="1794" y="2355"/>
                  </a:lnTo>
                  <a:lnTo>
                    <a:pt x="1793" y="2367"/>
                  </a:lnTo>
                  <a:lnTo>
                    <a:pt x="1793" y="2382"/>
                  </a:lnTo>
                  <a:lnTo>
                    <a:pt x="1793" y="2382"/>
                  </a:lnTo>
                  <a:lnTo>
                    <a:pt x="1793" y="2396"/>
                  </a:lnTo>
                  <a:lnTo>
                    <a:pt x="1794" y="2409"/>
                  </a:lnTo>
                  <a:lnTo>
                    <a:pt x="1797" y="2422"/>
                  </a:lnTo>
                  <a:lnTo>
                    <a:pt x="1800" y="2434"/>
                  </a:lnTo>
                  <a:lnTo>
                    <a:pt x="1804" y="2445"/>
                  </a:lnTo>
                  <a:lnTo>
                    <a:pt x="1809" y="2456"/>
                  </a:lnTo>
                  <a:lnTo>
                    <a:pt x="1814" y="2466"/>
                  </a:lnTo>
                  <a:lnTo>
                    <a:pt x="1820" y="2474"/>
                  </a:lnTo>
                  <a:lnTo>
                    <a:pt x="1827" y="2483"/>
                  </a:lnTo>
                  <a:lnTo>
                    <a:pt x="1834" y="2490"/>
                  </a:lnTo>
                  <a:lnTo>
                    <a:pt x="1842" y="2497"/>
                  </a:lnTo>
                  <a:lnTo>
                    <a:pt x="1850" y="2502"/>
                  </a:lnTo>
                  <a:lnTo>
                    <a:pt x="1859" y="2505"/>
                  </a:lnTo>
                  <a:lnTo>
                    <a:pt x="1868" y="2509"/>
                  </a:lnTo>
                  <a:lnTo>
                    <a:pt x="1879" y="2510"/>
                  </a:lnTo>
                  <a:lnTo>
                    <a:pt x="1888" y="2511"/>
                  </a:lnTo>
                  <a:lnTo>
                    <a:pt x="1888" y="2511"/>
                  </a:lnTo>
                  <a:lnTo>
                    <a:pt x="1898" y="2510"/>
                  </a:lnTo>
                  <a:lnTo>
                    <a:pt x="1909" y="2509"/>
                  </a:lnTo>
                  <a:lnTo>
                    <a:pt x="1918" y="2505"/>
                  </a:lnTo>
                  <a:lnTo>
                    <a:pt x="1926" y="2502"/>
                  </a:lnTo>
                  <a:lnTo>
                    <a:pt x="1935" y="2497"/>
                  </a:lnTo>
                  <a:lnTo>
                    <a:pt x="1943" y="2490"/>
                  </a:lnTo>
                  <a:lnTo>
                    <a:pt x="1950" y="2483"/>
                  </a:lnTo>
                  <a:lnTo>
                    <a:pt x="1957" y="2474"/>
                  </a:lnTo>
                  <a:lnTo>
                    <a:pt x="1963" y="2466"/>
                  </a:lnTo>
                  <a:lnTo>
                    <a:pt x="1968" y="2456"/>
                  </a:lnTo>
                  <a:lnTo>
                    <a:pt x="1972" y="2445"/>
                  </a:lnTo>
                  <a:lnTo>
                    <a:pt x="1976" y="2434"/>
                  </a:lnTo>
                  <a:lnTo>
                    <a:pt x="1979" y="2422"/>
                  </a:lnTo>
                  <a:lnTo>
                    <a:pt x="1982" y="2409"/>
                  </a:lnTo>
                  <a:lnTo>
                    <a:pt x="1984" y="2396"/>
                  </a:lnTo>
                  <a:lnTo>
                    <a:pt x="1984" y="2382"/>
                  </a:lnTo>
                  <a:lnTo>
                    <a:pt x="1984" y="2382"/>
                  </a:lnTo>
                  <a:lnTo>
                    <a:pt x="1984" y="2367"/>
                  </a:lnTo>
                  <a:lnTo>
                    <a:pt x="1982" y="2355"/>
                  </a:lnTo>
                  <a:lnTo>
                    <a:pt x="1979" y="2342"/>
                  </a:lnTo>
                  <a:lnTo>
                    <a:pt x="1976" y="2329"/>
                  </a:lnTo>
                  <a:lnTo>
                    <a:pt x="1972" y="2318"/>
                  </a:lnTo>
                  <a:lnTo>
                    <a:pt x="1968" y="2307"/>
                  </a:lnTo>
                  <a:lnTo>
                    <a:pt x="1963" y="2297"/>
                  </a:lnTo>
                  <a:lnTo>
                    <a:pt x="1957" y="2289"/>
                  </a:lnTo>
                  <a:lnTo>
                    <a:pt x="1950" y="2280"/>
                  </a:lnTo>
                  <a:lnTo>
                    <a:pt x="1943" y="2274"/>
                  </a:lnTo>
                  <a:lnTo>
                    <a:pt x="1935" y="2267"/>
                  </a:lnTo>
                  <a:lnTo>
                    <a:pt x="1926" y="2262"/>
                  </a:lnTo>
                  <a:lnTo>
                    <a:pt x="1918" y="2258"/>
                  </a:lnTo>
                  <a:lnTo>
                    <a:pt x="1909" y="2254"/>
                  </a:lnTo>
                  <a:lnTo>
                    <a:pt x="1898" y="2253"/>
                  </a:lnTo>
                  <a:lnTo>
                    <a:pt x="1888" y="2252"/>
                  </a:lnTo>
                  <a:lnTo>
                    <a:pt x="1888" y="2252"/>
                  </a:lnTo>
                  <a:close/>
                  <a:moveTo>
                    <a:pt x="1888" y="2454"/>
                  </a:moveTo>
                  <a:lnTo>
                    <a:pt x="1888" y="2454"/>
                  </a:lnTo>
                  <a:lnTo>
                    <a:pt x="1879" y="2452"/>
                  </a:lnTo>
                  <a:lnTo>
                    <a:pt x="1871" y="2449"/>
                  </a:lnTo>
                  <a:lnTo>
                    <a:pt x="1864" y="2442"/>
                  </a:lnTo>
                  <a:lnTo>
                    <a:pt x="1858" y="2434"/>
                  </a:lnTo>
                  <a:lnTo>
                    <a:pt x="1853" y="2424"/>
                  </a:lnTo>
                  <a:lnTo>
                    <a:pt x="1848" y="2412"/>
                  </a:lnTo>
                  <a:lnTo>
                    <a:pt x="1846" y="2397"/>
                  </a:lnTo>
                  <a:lnTo>
                    <a:pt x="1846" y="2382"/>
                  </a:lnTo>
                  <a:lnTo>
                    <a:pt x="1846" y="2382"/>
                  </a:lnTo>
                  <a:lnTo>
                    <a:pt x="1846" y="2366"/>
                  </a:lnTo>
                  <a:lnTo>
                    <a:pt x="1848" y="2353"/>
                  </a:lnTo>
                  <a:lnTo>
                    <a:pt x="1853" y="2340"/>
                  </a:lnTo>
                  <a:lnTo>
                    <a:pt x="1858" y="2329"/>
                  </a:lnTo>
                  <a:lnTo>
                    <a:pt x="1864" y="2321"/>
                  </a:lnTo>
                  <a:lnTo>
                    <a:pt x="1871" y="2315"/>
                  </a:lnTo>
                  <a:lnTo>
                    <a:pt x="1879" y="2311"/>
                  </a:lnTo>
                  <a:lnTo>
                    <a:pt x="1888" y="2310"/>
                  </a:lnTo>
                  <a:lnTo>
                    <a:pt x="1888" y="2310"/>
                  </a:lnTo>
                  <a:lnTo>
                    <a:pt x="1897" y="2311"/>
                  </a:lnTo>
                  <a:lnTo>
                    <a:pt x="1906" y="2315"/>
                  </a:lnTo>
                  <a:lnTo>
                    <a:pt x="1913" y="2321"/>
                  </a:lnTo>
                  <a:lnTo>
                    <a:pt x="1919" y="2329"/>
                  </a:lnTo>
                  <a:lnTo>
                    <a:pt x="1924" y="2340"/>
                  </a:lnTo>
                  <a:lnTo>
                    <a:pt x="1927" y="2353"/>
                  </a:lnTo>
                  <a:lnTo>
                    <a:pt x="1930" y="2366"/>
                  </a:lnTo>
                  <a:lnTo>
                    <a:pt x="1931" y="2382"/>
                  </a:lnTo>
                  <a:lnTo>
                    <a:pt x="1931" y="2382"/>
                  </a:lnTo>
                  <a:lnTo>
                    <a:pt x="1930" y="2397"/>
                  </a:lnTo>
                  <a:lnTo>
                    <a:pt x="1927" y="2412"/>
                  </a:lnTo>
                  <a:lnTo>
                    <a:pt x="1924" y="2424"/>
                  </a:lnTo>
                  <a:lnTo>
                    <a:pt x="1919" y="2434"/>
                  </a:lnTo>
                  <a:lnTo>
                    <a:pt x="1913" y="2442"/>
                  </a:lnTo>
                  <a:lnTo>
                    <a:pt x="1906" y="2449"/>
                  </a:lnTo>
                  <a:lnTo>
                    <a:pt x="1897" y="2452"/>
                  </a:lnTo>
                  <a:lnTo>
                    <a:pt x="1888" y="2454"/>
                  </a:lnTo>
                  <a:lnTo>
                    <a:pt x="1888" y="2454"/>
                  </a:lnTo>
                  <a:close/>
                  <a:moveTo>
                    <a:pt x="789" y="2339"/>
                  </a:moveTo>
                  <a:lnTo>
                    <a:pt x="852" y="2505"/>
                  </a:lnTo>
                  <a:lnTo>
                    <a:pt x="795" y="2505"/>
                  </a:lnTo>
                  <a:lnTo>
                    <a:pt x="751" y="2391"/>
                  </a:lnTo>
                  <a:lnTo>
                    <a:pt x="723" y="2431"/>
                  </a:lnTo>
                  <a:lnTo>
                    <a:pt x="723" y="2505"/>
                  </a:lnTo>
                  <a:lnTo>
                    <a:pt x="672" y="2505"/>
                  </a:lnTo>
                  <a:lnTo>
                    <a:pt x="672" y="2186"/>
                  </a:lnTo>
                  <a:lnTo>
                    <a:pt x="723" y="2155"/>
                  </a:lnTo>
                  <a:lnTo>
                    <a:pt x="723" y="2353"/>
                  </a:lnTo>
                  <a:lnTo>
                    <a:pt x="723" y="2353"/>
                  </a:lnTo>
                  <a:lnTo>
                    <a:pt x="743" y="2321"/>
                  </a:lnTo>
                  <a:lnTo>
                    <a:pt x="785" y="2258"/>
                  </a:lnTo>
                  <a:lnTo>
                    <a:pt x="845" y="2258"/>
                  </a:lnTo>
                  <a:lnTo>
                    <a:pt x="789" y="2339"/>
                  </a:lnTo>
                  <a:close/>
                  <a:moveTo>
                    <a:pt x="1034" y="2505"/>
                  </a:moveTo>
                  <a:lnTo>
                    <a:pt x="982" y="2505"/>
                  </a:lnTo>
                  <a:lnTo>
                    <a:pt x="982" y="2258"/>
                  </a:lnTo>
                  <a:lnTo>
                    <a:pt x="1034" y="2258"/>
                  </a:lnTo>
                  <a:lnTo>
                    <a:pt x="1034" y="2279"/>
                  </a:lnTo>
                  <a:lnTo>
                    <a:pt x="1034" y="2279"/>
                  </a:lnTo>
                  <a:lnTo>
                    <a:pt x="1040" y="2273"/>
                  </a:lnTo>
                  <a:lnTo>
                    <a:pt x="1045" y="2268"/>
                  </a:lnTo>
                  <a:lnTo>
                    <a:pt x="1051" y="2263"/>
                  </a:lnTo>
                  <a:lnTo>
                    <a:pt x="1057" y="2259"/>
                  </a:lnTo>
                  <a:lnTo>
                    <a:pt x="1065" y="2257"/>
                  </a:lnTo>
                  <a:lnTo>
                    <a:pt x="1072" y="2254"/>
                  </a:lnTo>
                  <a:lnTo>
                    <a:pt x="1079" y="2253"/>
                  </a:lnTo>
                  <a:lnTo>
                    <a:pt x="1088" y="2252"/>
                  </a:lnTo>
                  <a:lnTo>
                    <a:pt x="1088" y="2252"/>
                  </a:lnTo>
                  <a:lnTo>
                    <a:pt x="1097" y="2253"/>
                  </a:lnTo>
                  <a:lnTo>
                    <a:pt x="1105" y="2254"/>
                  </a:lnTo>
                  <a:lnTo>
                    <a:pt x="1113" y="2257"/>
                  </a:lnTo>
                  <a:lnTo>
                    <a:pt x="1121" y="2259"/>
                  </a:lnTo>
                  <a:lnTo>
                    <a:pt x="1127" y="2264"/>
                  </a:lnTo>
                  <a:lnTo>
                    <a:pt x="1133" y="2269"/>
                  </a:lnTo>
                  <a:lnTo>
                    <a:pt x="1140" y="2274"/>
                  </a:lnTo>
                  <a:lnTo>
                    <a:pt x="1145" y="2281"/>
                  </a:lnTo>
                  <a:lnTo>
                    <a:pt x="1149" y="2289"/>
                  </a:lnTo>
                  <a:lnTo>
                    <a:pt x="1153" y="2297"/>
                  </a:lnTo>
                  <a:lnTo>
                    <a:pt x="1156" y="2306"/>
                  </a:lnTo>
                  <a:lnTo>
                    <a:pt x="1159" y="2317"/>
                  </a:lnTo>
                  <a:lnTo>
                    <a:pt x="1161" y="2328"/>
                  </a:lnTo>
                  <a:lnTo>
                    <a:pt x="1163" y="2339"/>
                  </a:lnTo>
                  <a:lnTo>
                    <a:pt x="1164" y="2352"/>
                  </a:lnTo>
                  <a:lnTo>
                    <a:pt x="1165" y="2365"/>
                  </a:lnTo>
                  <a:lnTo>
                    <a:pt x="1165" y="2505"/>
                  </a:lnTo>
                  <a:lnTo>
                    <a:pt x="1113" y="2505"/>
                  </a:lnTo>
                  <a:lnTo>
                    <a:pt x="1113" y="2369"/>
                  </a:lnTo>
                  <a:lnTo>
                    <a:pt x="1113" y="2369"/>
                  </a:lnTo>
                  <a:lnTo>
                    <a:pt x="1112" y="2355"/>
                  </a:lnTo>
                  <a:lnTo>
                    <a:pt x="1110" y="2342"/>
                  </a:lnTo>
                  <a:lnTo>
                    <a:pt x="1107" y="2332"/>
                  </a:lnTo>
                  <a:lnTo>
                    <a:pt x="1103" y="2323"/>
                  </a:lnTo>
                  <a:lnTo>
                    <a:pt x="1098" y="2317"/>
                  </a:lnTo>
                  <a:lnTo>
                    <a:pt x="1092" y="2312"/>
                  </a:lnTo>
                  <a:lnTo>
                    <a:pt x="1083" y="2310"/>
                  </a:lnTo>
                  <a:lnTo>
                    <a:pt x="1074" y="2308"/>
                  </a:lnTo>
                  <a:lnTo>
                    <a:pt x="1074" y="2308"/>
                  </a:lnTo>
                  <a:lnTo>
                    <a:pt x="1066" y="2310"/>
                  </a:lnTo>
                  <a:lnTo>
                    <a:pt x="1057" y="2312"/>
                  </a:lnTo>
                  <a:lnTo>
                    <a:pt x="1050" y="2317"/>
                  </a:lnTo>
                  <a:lnTo>
                    <a:pt x="1045" y="2324"/>
                  </a:lnTo>
                  <a:lnTo>
                    <a:pt x="1041" y="2332"/>
                  </a:lnTo>
                  <a:lnTo>
                    <a:pt x="1038" y="2343"/>
                  </a:lnTo>
                  <a:lnTo>
                    <a:pt x="1036" y="2355"/>
                  </a:lnTo>
                  <a:lnTo>
                    <a:pt x="1034" y="2369"/>
                  </a:lnTo>
                  <a:lnTo>
                    <a:pt x="1034" y="2505"/>
                  </a:lnTo>
                  <a:close/>
                  <a:moveTo>
                    <a:pt x="1328" y="2275"/>
                  </a:moveTo>
                  <a:lnTo>
                    <a:pt x="1328" y="2275"/>
                  </a:lnTo>
                  <a:lnTo>
                    <a:pt x="1323" y="2270"/>
                  </a:lnTo>
                  <a:lnTo>
                    <a:pt x="1318" y="2265"/>
                  </a:lnTo>
                  <a:lnTo>
                    <a:pt x="1312" y="2262"/>
                  </a:lnTo>
                  <a:lnTo>
                    <a:pt x="1306" y="2258"/>
                  </a:lnTo>
                  <a:lnTo>
                    <a:pt x="1300" y="2256"/>
                  </a:lnTo>
                  <a:lnTo>
                    <a:pt x="1294" y="2254"/>
                  </a:lnTo>
                  <a:lnTo>
                    <a:pt x="1287" y="2253"/>
                  </a:lnTo>
                  <a:lnTo>
                    <a:pt x="1281" y="2252"/>
                  </a:lnTo>
                  <a:lnTo>
                    <a:pt x="1281" y="2252"/>
                  </a:lnTo>
                  <a:lnTo>
                    <a:pt x="1272" y="2253"/>
                  </a:lnTo>
                  <a:lnTo>
                    <a:pt x="1263" y="2254"/>
                  </a:lnTo>
                  <a:lnTo>
                    <a:pt x="1255" y="2257"/>
                  </a:lnTo>
                  <a:lnTo>
                    <a:pt x="1247" y="2262"/>
                  </a:lnTo>
                  <a:lnTo>
                    <a:pt x="1240" y="2265"/>
                  </a:lnTo>
                  <a:lnTo>
                    <a:pt x="1233" y="2272"/>
                  </a:lnTo>
                  <a:lnTo>
                    <a:pt x="1227" y="2279"/>
                  </a:lnTo>
                  <a:lnTo>
                    <a:pt x="1221" y="2286"/>
                  </a:lnTo>
                  <a:lnTo>
                    <a:pt x="1216" y="2295"/>
                  </a:lnTo>
                  <a:lnTo>
                    <a:pt x="1211" y="2305"/>
                  </a:lnTo>
                  <a:lnTo>
                    <a:pt x="1207" y="2315"/>
                  </a:lnTo>
                  <a:lnTo>
                    <a:pt x="1204" y="2327"/>
                  </a:lnTo>
                  <a:lnTo>
                    <a:pt x="1202" y="2338"/>
                  </a:lnTo>
                  <a:lnTo>
                    <a:pt x="1200" y="2352"/>
                  </a:lnTo>
                  <a:lnTo>
                    <a:pt x="1199" y="2365"/>
                  </a:lnTo>
                  <a:lnTo>
                    <a:pt x="1199" y="2379"/>
                  </a:lnTo>
                  <a:lnTo>
                    <a:pt x="1199" y="2379"/>
                  </a:lnTo>
                  <a:lnTo>
                    <a:pt x="1199" y="2395"/>
                  </a:lnTo>
                  <a:lnTo>
                    <a:pt x="1200" y="2408"/>
                  </a:lnTo>
                  <a:lnTo>
                    <a:pt x="1202" y="2422"/>
                  </a:lnTo>
                  <a:lnTo>
                    <a:pt x="1204" y="2435"/>
                  </a:lnTo>
                  <a:lnTo>
                    <a:pt x="1207" y="2446"/>
                  </a:lnTo>
                  <a:lnTo>
                    <a:pt x="1211" y="2457"/>
                  </a:lnTo>
                  <a:lnTo>
                    <a:pt x="1216" y="2467"/>
                  </a:lnTo>
                  <a:lnTo>
                    <a:pt x="1221" y="2476"/>
                  </a:lnTo>
                  <a:lnTo>
                    <a:pt x="1226" y="2484"/>
                  </a:lnTo>
                  <a:lnTo>
                    <a:pt x="1232" y="2490"/>
                  </a:lnTo>
                  <a:lnTo>
                    <a:pt x="1238" y="2497"/>
                  </a:lnTo>
                  <a:lnTo>
                    <a:pt x="1246" y="2502"/>
                  </a:lnTo>
                  <a:lnTo>
                    <a:pt x="1254" y="2505"/>
                  </a:lnTo>
                  <a:lnTo>
                    <a:pt x="1262" y="2509"/>
                  </a:lnTo>
                  <a:lnTo>
                    <a:pt x="1271" y="2510"/>
                  </a:lnTo>
                  <a:lnTo>
                    <a:pt x="1280" y="2511"/>
                  </a:lnTo>
                  <a:lnTo>
                    <a:pt x="1280" y="2511"/>
                  </a:lnTo>
                  <a:lnTo>
                    <a:pt x="1286" y="2510"/>
                  </a:lnTo>
                  <a:lnTo>
                    <a:pt x="1294" y="2509"/>
                  </a:lnTo>
                  <a:lnTo>
                    <a:pt x="1300" y="2508"/>
                  </a:lnTo>
                  <a:lnTo>
                    <a:pt x="1306" y="2505"/>
                  </a:lnTo>
                  <a:lnTo>
                    <a:pt x="1311" y="2502"/>
                  </a:lnTo>
                  <a:lnTo>
                    <a:pt x="1318" y="2498"/>
                  </a:lnTo>
                  <a:lnTo>
                    <a:pt x="1323" y="2493"/>
                  </a:lnTo>
                  <a:lnTo>
                    <a:pt x="1328" y="2487"/>
                  </a:lnTo>
                  <a:lnTo>
                    <a:pt x="1328" y="2493"/>
                  </a:lnTo>
                  <a:lnTo>
                    <a:pt x="1328" y="2493"/>
                  </a:lnTo>
                  <a:lnTo>
                    <a:pt x="1328" y="2503"/>
                  </a:lnTo>
                  <a:lnTo>
                    <a:pt x="1327" y="2514"/>
                  </a:lnTo>
                  <a:lnTo>
                    <a:pt x="1324" y="2525"/>
                  </a:lnTo>
                  <a:lnTo>
                    <a:pt x="1322" y="2530"/>
                  </a:lnTo>
                  <a:lnTo>
                    <a:pt x="1320" y="2535"/>
                  </a:lnTo>
                  <a:lnTo>
                    <a:pt x="1315" y="2540"/>
                  </a:lnTo>
                  <a:lnTo>
                    <a:pt x="1311" y="2545"/>
                  </a:lnTo>
                  <a:lnTo>
                    <a:pt x="1306" y="2548"/>
                  </a:lnTo>
                  <a:lnTo>
                    <a:pt x="1300" y="2552"/>
                  </a:lnTo>
                  <a:lnTo>
                    <a:pt x="1292" y="2554"/>
                  </a:lnTo>
                  <a:lnTo>
                    <a:pt x="1283" y="2557"/>
                  </a:lnTo>
                  <a:lnTo>
                    <a:pt x="1273" y="2558"/>
                  </a:lnTo>
                  <a:lnTo>
                    <a:pt x="1260" y="2558"/>
                  </a:lnTo>
                  <a:lnTo>
                    <a:pt x="1258" y="2558"/>
                  </a:lnTo>
                  <a:lnTo>
                    <a:pt x="1277" y="2606"/>
                  </a:lnTo>
                  <a:lnTo>
                    <a:pt x="1278" y="2606"/>
                  </a:lnTo>
                  <a:lnTo>
                    <a:pt x="1278" y="2606"/>
                  </a:lnTo>
                  <a:lnTo>
                    <a:pt x="1291" y="2606"/>
                  </a:lnTo>
                  <a:lnTo>
                    <a:pt x="1302" y="2605"/>
                  </a:lnTo>
                  <a:lnTo>
                    <a:pt x="1312" y="2601"/>
                  </a:lnTo>
                  <a:lnTo>
                    <a:pt x="1323" y="2599"/>
                  </a:lnTo>
                  <a:lnTo>
                    <a:pt x="1332" y="2594"/>
                  </a:lnTo>
                  <a:lnTo>
                    <a:pt x="1340" y="2589"/>
                  </a:lnTo>
                  <a:lnTo>
                    <a:pt x="1348" y="2583"/>
                  </a:lnTo>
                  <a:lnTo>
                    <a:pt x="1354" y="2575"/>
                  </a:lnTo>
                  <a:lnTo>
                    <a:pt x="1360" y="2567"/>
                  </a:lnTo>
                  <a:lnTo>
                    <a:pt x="1365" y="2558"/>
                  </a:lnTo>
                  <a:lnTo>
                    <a:pt x="1370" y="2547"/>
                  </a:lnTo>
                  <a:lnTo>
                    <a:pt x="1373" y="2536"/>
                  </a:lnTo>
                  <a:lnTo>
                    <a:pt x="1376" y="2525"/>
                  </a:lnTo>
                  <a:lnTo>
                    <a:pt x="1378" y="2511"/>
                  </a:lnTo>
                  <a:lnTo>
                    <a:pt x="1379" y="2498"/>
                  </a:lnTo>
                  <a:lnTo>
                    <a:pt x="1379" y="2483"/>
                  </a:lnTo>
                  <a:lnTo>
                    <a:pt x="1379" y="2258"/>
                  </a:lnTo>
                  <a:lnTo>
                    <a:pt x="1328" y="2258"/>
                  </a:lnTo>
                  <a:lnTo>
                    <a:pt x="1328" y="2275"/>
                  </a:lnTo>
                  <a:close/>
                  <a:moveTo>
                    <a:pt x="1328" y="2333"/>
                  </a:moveTo>
                  <a:lnTo>
                    <a:pt x="1328" y="2430"/>
                  </a:lnTo>
                  <a:lnTo>
                    <a:pt x="1328" y="2430"/>
                  </a:lnTo>
                  <a:lnTo>
                    <a:pt x="1321" y="2439"/>
                  </a:lnTo>
                  <a:lnTo>
                    <a:pt x="1313" y="2447"/>
                  </a:lnTo>
                  <a:lnTo>
                    <a:pt x="1308" y="2450"/>
                  </a:lnTo>
                  <a:lnTo>
                    <a:pt x="1303" y="2452"/>
                  </a:lnTo>
                  <a:lnTo>
                    <a:pt x="1298" y="2454"/>
                  </a:lnTo>
                  <a:lnTo>
                    <a:pt x="1291" y="2455"/>
                  </a:lnTo>
                  <a:lnTo>
                    <a:pt x="1291" y="2455"/>
                  </a:lnTo>
                  <a:lnTo>
                    <a:pt x="1284" y="2454"/>
                  </a:lnTo>
                  <a:lnTo>
                    <a:pt x="1277" y="2451"/>
                  </a:lnTo>
                  <a:lnTo>
                    <a:pt x="1271" y="2447"/>
                  </a:lnTo>
                  <a:lnTo>
                    <a:pt x="1265" y="2440"/>
                  </a:lnTo>
                  <a:lnTo>
                    <a:pt x="1259" y="2430"/>
                  </a:lnTo>
                  <a:lnTo>
                    <a:pt x="1255" y="2417"/>
                  </a:lnTo>
                  <a:lnTo>
                    <a:pt x="1253" y="2399"/>
                  </a:lnTo>
                  <a:lnTo>
                    <a:pt x="1252" y="2377"/>
                  </a:lnTo>
                  <a:lnTo>
                    <a:pt x="1252" y="2377"/>
                  </a:lnTo>
                  <a:lnTo>
                    <a:pt x="1253" y="2359"/>
                  </a:lnTo>
                  <a:lnTo>
                    <a:pt x="1255" y="2343"/>
                  </a:lnTo>
                  <a:lnTo>
                    <a:pt x="1259" y="2331"/>
                  </a:lnTo>
                  <a:lnTo>
                    <a:pt x="1265" y="2322"/>
                  </a:lnTo>
                  <a:lnTo>
                    <a:pt x="1271" y="2316"/>
                  </a:lnTo>
                  <a:lnTo>
                    <a:pt x="1277" y="2311"/>
                  </a:lnTo>
                  <a:lnTo>
                    <a:pt x="1284" y="2310"/>
                  </a:lnTo>
                  <a:lnTo>
                    <a:pt x="1291" y="2308"/>
                  </a:lnTo>
                  <a:lnTo>
                    <a:pt x="1291" y="2308"/>
                  </a:lnTo>
                  <a:lnTo>
                    <a:pt x="1298" y="2310"/>
                  </a:lnTo>
                  <a:lnTo>
                    <a:pt x="1304" y="2311"/>
                  </a:lnTo>
                  <a:lnTo>
                    <a:pt x="1309" y="2313"/>
                  </a:lnTo>
                  <a:lnTo>
                    <a:pt x="1314" y="2317"/>
                  </a:lnTo>
                  <a:lnTo>
                    <a:pt x="1319" y="2321"/>
                  </a:lnTo>
                  <a:lnTo>
                    <a:pt x="1322" y="2324"/>
                  </a:lnTo>
                  <a:lnTo>
                    <a:pt x="1328" y="2333"/>
                  </a:lnTo>
                  <a:lnTo>
                    <a:pt x="1328" y="2333"/>
                  </a:lnTo>
                  <a:close/>
                  <a:moveTo>
                    <a:pt x="885" y="2258"/>
                  </a:moveTo>
                  <a:lnTo>
                    <a:pt x="937" y="2258"/>
                  </a:lnTo>
                  <a:lnTo>
                    <a:pt x="937" y="2367"/>
                  </a:lnTo>
                  <a:lnTo>
                    <a:pt x="937" y="2505"/>
                  </a:lnTo>
                  <a:lnTo>
                    <a:pt x="885" y="2505"/>
                  </a:lnTo>
                  <a:lnTo>
                    <a:pt x="885" y="2258"/>
                  </a:lnTo>
                  <a:close/>
                  <a:moveTo>
                    <a:pt x="937" y="2192"/>
                  </a:moveTo>
                  <a:lnTo>
                    <a:pt x="937" y="2222"/>
                  </a:lnTo>
                  <a:lnTo>
                    <a:pt x="885" y="2222"/>
                  </a:lnTo>
                  <a:lnTo>
                    <a:pt x="885" y="2161"/>
                  </a:lnTo>
                  <a:lnTo>
                    <a:pt x="937" y="2161"/>
                  </a:lnTo>
                  <a:lnTo>
                    <a:pt x="937" y="2192"/>
                  </a:lnTo>
                  <a:close/>
                  <a:moveTo>
                    <a:pt x="2177" y="2186"/>
                  </a:moveTo>
                  <a:lnTo>
                    <a:pt x="2229" y="2155"/>
                  </a:lnTo>
                  <a:lnTo>
                    <a:pt x="2229" y="2379"/>
                  </a:lnTo>
                  <a:lnTo>
                    <a:pt x="2229" y="2505"/>
                  </a:lnTo>
                  <a:lnTo>
                    <a:pt x="2177" y="2505"/>
                  </a:lnTo>
                  <a:lnTo>
                    <a:pt x="2177" y="2186"/>
                  </a:lnTo>
                  <a:close/>
                  <a:moveTo>
                    <a:pt x="375" y="843"/>
                  </a:moveTo>
                  <a:lnTo>
                    <a:pt x="801" y="843"/>
                  </a:lnTo>
                  <a:lnTo>
                    <a:pt x="801" y="550"/>
                  </a:lnTo>
                  <a:lnTo>
                    <a:pt x="375" y="550"/>
                  </a:lnTo>
                  <a:lnTo>
                    <a:pt x="375" y="321"/>
                  </a:lnTo>
                  <a:lnTo>
                    <a:pt x="847" y="321"/>
                  </a:lnTo>
                  <a:lnTo>
                    <a:pt x="690" y="0"/>
                  </a:lnTo>
                  <a:lnTo>
                    <a:pt x="21" y="0"/>
                  </a:lnTo>
                  <a:lnTo>
                    <a:pt x="21" y="1394"/>
                  </a:lnTo>
                  <a:lnTo>
                    <a:pt x="965" y="1394"/>
                  </a:lnTo>
                  <a:lnTo>
                    <a:pt x="965" y="1073"/>
                  </a:lnTo>
                  <a:lnTo>
                    <a:pt x="375" y="1073"/>
                  </a:lnTo>
                  <a:lnTo>
                    <a:pt x="375" y="843"/>
                  </a:lnTo>
                  <a:close/>
                  <a:moveTo>
                    <a:pt x="1593" y="0"/>
                  </a:moveTo>
                  <a:lnTo>
                    <a:pt x="1393" y="455"/>
                  </a:lnTo>
                  <a:lnTo>
                    <a:pt x="1193" y="0"/>
                  </a:lnTo>
                  <a:lnTo>
                    <a:pt x="801" y="0"/>
                  </a:lnTo>
                  <a:lnTo>
                    <a:pt x="1214" y="843"/>
                  </a:lnTo>
                  <a:lnTo>
                    <a:pt x="1214" y="1394"/>
                  </a:lnTo>
                  <a:lnTo>
                    <a:pt x="1566" y="1394"/>
                  </a:lnTo>
                  <a:lnTo>
                    <a:pt x="1566" y="843"/>
                  </a:lnTo>
                  <a:lnTo>
                    <a:pt x="1979" y="0"/>
                  </a:lnTo>
                  <a:lnTo>
                    <a:pt x="159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04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17" y="1599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17" y="1599"/>
                        <a:ext cx="190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737" y="1412879"/>
            <a:ext cx="9881236" cy="4519613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>
                <a:cs typeface="Arial"/>
              </a:defRPr>
            </a:lvl1pPr>
            <a:lvl2pPr>
              <a:defRPr>
                <a:cs typeface="Arial"/>
              </a:defRPr>
            </a:lvl2pPr>
            <a:lvl3pPr>
              <a:defRPr>
                <a:cs typeface="Arial"/>
              </a:defRPr>
            </a:lvl3pPr>
            <a:lvl4pPr>
              <a:defRPr>
                <a:cs typeface="Arial"/>
              </a:defRPr>
            </a:lvl4pPr>
            <a:lvl5pPr>
              <a:defRPr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738040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 descr="Satellite2"/>
          <p:cNvPicPr>
            <a:picLocks noChangeAspect="1" noChangeArrowheads="1"/>
          </p:cNvPicPr>
          <p:nvPr userDrawn="1"/>
        </p:nvPicPr>
        <p:blipFill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6" y="0"/>
            <a:ext cx="1097279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727905" y="5748934"/>
            <a:ext cx="118018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9072" y="757504"/>
            <a:ext cx="65880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9072" y="1753200"/>
            <a:ext cx="6588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109728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83430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883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419647"/>
              </p:ext>
            </p:extLst>
          </p:nvPr>
        </p:nvGraphicFramePr>
        <p:xfrm>
          <a:off x="1589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170"/>
            <a:ext cx="9875520" cy="36576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062750"/>
            <a:ext cx="9875520" cy="469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202188"/>
            <a:ext cx="987552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889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285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03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5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9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288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1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128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06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87927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485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83430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108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1381067"/>
              </p:ext>
            </p:extLst>
          </p:nvPr>
        </p:nvGraphicFramePr>
        <p:xfrm>
          <a:off x="1636" y="1435"/>
          <a:ext cx="1626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6" y="1435"/>
                        <a:ext cx="1626" cy="14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92" y="457200"/>
            <a:ext cx="6496050" cy="4572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064363" y="1799130"/>
            <a:ext cx="5571672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64363" y="2769577"/>
            <a:ext cx="5571672" cy="645742"/>
          </a:xfrm>
          <a:prstGeom prst="rect">
            <a:avLst/>
          </a:prstGeom>
        </p:spPr>
        <p:txBody>
          <a:bodyPr lIns="90879" tIns="45426" rIns="90879" bIns="45426"/>
          <a:lstStyle>
            <a:lvl1pPr marL="0" indent="0" algn="l">
              <a:buNone/>
              <a:defRPr sz="2300"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  <a:lvl2pPr marL="0" indent="0" algn="l">
              <a:buNone/>
              <a:defRPr sz="1800">
                <a:solidFill>
                  <a:srgbClr val="404040"/>
                </a:solidFill>
              </a:defRPr>
            </a:lvl2pPr>
            <a:lvl3pPr marL="1043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312634" y="5702589"/>
            <a:ext cx="4660876" cy="708325"/>
            <a:chOff x="399256" y="6507163"/>
            <a:chExt cx="4544219" cy="783909"/>
          </a:xfrm>
        </p:grpSpPr>
        <p:sp>
          <p:nvSpPr>
            <p:cNvPr id="4" name="AutoShape 110"/>
            <p:cNvSpPr>
              <a:spLocks noChangeAspect="1" noChangeArrowheads="1" noTextEdit="1"/>
            </p:cNvSpPr>
            <p:nvPr userDrawn="1"/>
          </p:nvSpPr>
          <p:spPr bwMode="auto">
            <a:xfrm>
              <a:off x="520700" y="6507163"/>
              <a:ext cx="4422775" cy="684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" name="Rectangle 112"/>
            <p:cNvSpPr>
              <a:spLocks noChangeArrowheads="1"/>
            </p:cNvSpPr>
            <p:nvPr userDrawn="1"/>
          </p:nvSpPr>
          <p:spPr bwMode="auto">
            <a:xfrm>
              <a:off x="5334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6" name="Rectangle 113"/>
            <p:cNvSpPr>
              <a:spLocks noChangeArrowheads="1"/>
            </p:cNvSpPr>
            <p:nvPr userDrawn="1"/>
          </p:nvSpPr>
          <p:spPr bwMode="auto">
            <a:xfrm>
              <a:off x="7366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2" name="Rectangle 114"/>
            <p:cNvSpPr>
              <a:spLocks noChangeArrowheads="1"/>
            </p:cNvSpPr>
            <p:nvPr userDrawn="1"/>
          </p:nvSpPr>
          <p:spPr bwMode="auto">
            <a:xfrm>
              <a:off x="938213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3" name="Rectangle 115"/>
            <p:cNvSpPr>
              <a:spLocks noChangeArrowheads="1"/>
            </p:cNvSpPr>
            <p:nvPr userDrawn="1"/>
          </p:nvSpPr>
          <p:spPr bwMode="auto">
            <a:xfrm>
              <a:off x="399256" y="6746081"/>
              <a:ext cx="4159766" cy="544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question. The better the answer.</a:t>
              </a:r>
            </a:p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world works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16"/>
            <p:cNvSpPr>
              <a:spLocks noChangeArrowheads="1"/>
            </p:cNvSpPr>
            <p:nvPr userDrawn="1"/>
          </p:nvSpPr>
          <p:spPr bwMode="auto">
            <a:xfrm>
              <a:off x="64135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6" name="Rectangle 126"/>
            <p:cNvSpPr>
              <a:spLocks noChangeArrowheads="1"/>
            </p:cNvSpPr>
            <p:nvPr userDrawn="1"/>
          </p:nvSpPr>
          <p:spPr bwMode="auto">
            <a:xfrm>
              <a:off x="3470275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1" name="Rectangle 131"/>
            <p:cNvSpPr>
              <a:spLocks noChangeArrowheads="1"/>
            </p:cNvSpPr>
            <p:nvPr userDrawn="1"/>
          </p:nvSpPr>
          <p:spPr bwMode="auto">
            <a:xfrm>
              <a:off x="471170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2" name="Rectangle 132"/>
            <p:cNvSpPr>
              <a:spLocks noChangeArrowheads="1"/>
            </p:cNvSpPr>
            <p:nvPr userDrawn="1"/>
          </p:nvSpPr>
          <p:spPr bwMode="auto">
            <a:xfrm>
              <a:off x="4824413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4" name="Rectangle 144"/>
            <p:cNvSpPr>
              <a:spLocks noChangeArrowheads="1"/>
            </p:cNvSpPr>
            <p:nvPr userDrawn="1"/>
          </p:nvSpPr>
          <p:spPr bwMode="auto">
            <a:xfrm>
              <a:off x="2836864" y="69310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6" name="Rectangle 146"/>
            <p:cNvSpPr>
              <a:spLocks noChangeArrowheads="1"/>
            </p:cNvSpPr>
            <p:nvPr userDrawn="1"/>
          </p:nvSpPr>
          <p:spPr bwMode="auto">
            <a:xfrm>
              <a:off x="3040063" y="6931024"/>
              <a:ext cx="56264" cy="27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51" name="Group 50"/>
          <p:cNvGrpSpPr/>
          <p:nvPr userDrawn="1"/>
        </p:nvGrpSpPr>
        <p:grpSpPr>
          <a:xfrm>
            <a:off x="9250108" y="5340375"/>
            <a:ext cx="1185368" cy="1156150"/>
            <a:chOff x="9018588" y="5910263"/>
            <a:chExt cx="1155700" cy="1279526"/>
          </a:xfrm>
        </p:grpSpPr>
        <p:sp>
          <p:nvSpPr>
            <p:cNvPr id="48" name="AutoShape 148"/>
            <p:cNvSpPr>
              <a:spLocks noChangeAspect="1" noChangeArrowheads="1" noTextEdit="1"/>
            </p:cNvSpPr>
            <p:nvPr userDrawn="1"/>
          </p:nvSpPr>
          <p:spPr bwMode="auto">
            <a:xfrm>
              <a:off x="9018588" y="5910263"/>
              <a:ext cx="1155700" cy="127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49" name="Freeform 150"/>
            <p:cNvSpPr>
              <a:spLocks/>
            </p:cNvSpPr>
            <p:nvPr userDrawn="1"/>
          </p:nvSpPr>
          <p:spPr bwMode="auto">
            <a:xfrm>
              <a:off x="9018588" y="5910263"/>
              <a:ext cx="925513" cy="319088"/>
            </a:xfrm>
            <a:custGeom>
              <a:avLst/>
              <a:gdLst>
                <a:gd name="T0" fmla="*/ 2332 w 2332"/>
                <a:gd name="T1" fmla="*/ 0 h 1006"/>
                <a:gd name="T2" fmla="*/ 0 w 2332"/>
                <a:gd name="T3" fmla="*/ 1006 h 1006"/>
                <a:gd name="T4" fmla="*/ 2332 w 2332"/>
                <a:gd name="T5" fmla="*/ 519 h 1006"/>
                <a:gd name="T6" fmla="*/ 2332 w 2332"/>
                <a:gd name="T7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2" h="1006">
                  <a:moveTo>
                    <a:pt x="2332" y="0"/>
                  </a:moveTo>
                  <a:lnTo>
                    <a:pt x="0" y="1006"/>
                  </a:lnTo>
                  <a:lnTo>
                    <a:pt x="2332" y="519"/>
                  </a:lnTo>
                  <a:lnTo>
                    <a:pt x="2332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0" name="Freeform 151"/>
            <p:cNvSpPr>
              <a:spLocks noEditPoints="1"/>
            </p:cNvSpPr>
            <p:nvPr userDrawn="1"/>
          </p:nvSpPr>
          <p:spPr bwMode="auto">
            <a:xfrm>
              <a:off x="9018588" y="6362701"/>
              <a:ext cx="1155700" cy="827088"/>
            </a:xfrm>
            <a:custGeom>
              <a:avLst/>
              <a:gdLst>
                <a:gd name="T0" fmla="*/ 220 w 2912"/>
                <a:gd name="T1" fmla="*/ 1769 h 2606"/>
                <a:gd name="T2" fmla="*/ 238 w 2912"/>
                <a:gd name="T3" fmla="*/ 2000 h 2606"/>
                <a:gd name="T4" fmla="*/ 143 w 2912"/>
                <a:gd name="T5" fmla="*/ 2016 h 2606"/>
                <a:gd name="T6" fmla="*/ 331 w 2912"/>
                <a:gd name="T7" fmla="*/ 1962 h 2606"/>
                <a:gd name="T8" fmla="*/ 392 w 2912"/>
                <a:gd name="T9" fmla="*/ 2069 h 2606"/>
                <a:gd name="T10" fmla="*/ 1075 w 2912"/>
                <a:gd name="T11" fmla="*/ 1840 h 2606"/>
                <a:gd name="T12" fmla="*/ 1147 w 2912"/>
                <a:gd name="T13" fmla="*/ 1936 h 2606"/>
                <a:gd name="T14" fmla="*/ 657 w 2912"/>
                <a:gd name="T15" fmla="*/ 1722 h 2606"/>
                <a:gd name="T16" fmla="*/ 696 w 2912"/>
                <a:gd name="T17" fmla="*/ 1905 h 2606"/>
                <a:gd name="T18" fmla="*/ 811 w 2912"/>
                <a:gd name="T19" fmla="*/ 2065 h 2606"/>
                <a:gd name="T20" fmla="*/ 785 w 2912"/>
                <a:gd name="T21" fmla="*/ 1876 h 2606"/>
                <a:gd name="T22" fmla="*/ 1906 w 2912"/>
                <a:gd name="T23" fmla="*/ 2072 h 2606"/>
                <a:gd name="T24" fmla="*/ 2035 w 2912"/>
                <a:gd name="T25" fmla="*/ 1946 h 2606"/>
                <a:gd name="T26" fmla="*/ 1981 w 2912"/>
                <a:gd name="T27" fmla="*/ 1927 h 2606"/>
                <a:gd name="T28" fmla="*/ 1942 w 2912"/>
                <a:gd name="T29" fmla="*/ 1876 h 2606"/>
                <a:gd name="T30" fmla="*/ 1234 w 2912"/>
                <a:gd name="T31" fmla="*/ 1932 h 2606"/>
                <a:gd name="T32" fmla="*/ 1362 w 2912"/>
                <a:gd name="T33" fmla="*/ 2054 h 2606"/>
                <a:gd name="T34" fmla="*/ 1389 w 2912"/>
                <a:gd name="T35" fmla="*/ 2143 h 2606"/>
                <a:gd name="T36" fmla="*/ 1291 w 2912"/>
                <a:gd name="T37" fmla="*/ 1984 h 2606"/>
                <a:gd name="T38" fmla="*/ 1629 w 2912"/>
                <a:gd name="T39" fmla="*/ 1868 h 2606"/>
                <a:gd name="T40" fmla="*/ 1539 w 2912"/>
                <a:gd name="T41" fmla="*/ 1980 h 2606"/>
                <a:gd name="T42" fmla="*/ 1718 w 2912"/>
                <a:gd name="T43" fmla="*/ 1905 h 2606"/>
                <a:gd name="T44" fmla="*/ 1590 w 2912"/>
                <a:gd name="T45" fmla="*/ 1990 h 2606"/>
                <a:gd name="T46" fmla="*/ 1611 w 2912"/>
                <a:gd name="T47" fmla="*/ 2024 h 2606"/>
                <a:gd name="T48" fmla="*/ 2113 w 2912"/>
                <a:gd name="T49" fmla="*/ 1968 h 2606"/>
                <a:gd name="T50" fmla="*/ 2100 w 2912"/>
                <a:gd name="T51" fmla="*/ 1841 h 2606"/>
                <a:gd name="T52" fmla="*/ 2160 w 2912"/>
                <a:gd name="T53" fmla="*/ 2079 h 2606"/>
                <a:gd name="T54" fmla="*/ 2189 w 2912"/>
                <a:gd name="T55" fmla="*/ 1904 h 2606"/>
                <a:gd name="T56" fmla="*/ 2742 w 2912"/>
                <a:gd name="T57" fmla="*/ 1949 h 2606"/>
                <a:gd name="T58" fmla="*/ 2575 w 2912"/>
                <a:gd name="T59" fmla="*/ 1875 h 2606"/>
                <a:gd name="T60" fmla="*/ 2689 w 2912"/>
                <a:gd name="T61" fmla="*/ 2072 h 2606"/>
                <a:gd name="T62" fmla="*/ 2488 w 2912"/>
                <a:gd name="T63" fmla="*/ 1986 h 2606"/>
                <a:gd name="T64" fmla="*/ 2456 w 2912"/>
                <a:gd name="T65" fmla="*/ 2064 h 2606"/>
                <a:gd name="T66" fmla="*/ 2324 w 2912"/>
                <a:gd name="T67" fmla="*/ 2074 h 2606"/>
                <a:gd name="T68" fmla="*/ 2353 w 2912"/>
                <a:gd name="T69" fmla="*/ 2018 h 2606"/>
                <a:gd name="T70" fmla="*/ 2827 w 2912"/>
                <a:gd name="T71" fmla="*/ 1825 h 2606"/>
                <a:gd name="T72" fmla="*/ 919 w 2912"/>
                <a:gd name="T73" fmla="*/ 2072 h 2606"/>
                <a:gd name="T74" fmla="*/ 2278 w 2912"/>
                <a:gd name="T75" fmla="*/ 2305 h 2606"/>
                <a:gd name="T76" fmla="*/ 2367 w 2912"/>
                <a:gd name="T77" fmla="*/ 2508 h 2606"/>
                <a:gd name="T78" fmla="*/ 2344 w 2912"/>
                <a:gd name="T79" fmla="*/ 2311 h 2606"/>
                <a:gd name="T80" fmla="*/ 591 w 2912"/>
                <a:gd name="T81" fmla="*/ 2315 h 2606"/>
                <a:gd name="T82" fmla="*/ 634 w 2912"/>
                <a:gd name="T83" fmla="*/ 2327 h 2606"/>
                <a:gd name="T84" fmla="*/ 190 w 2912"/>
                <a:gd name="T85" fmla="*/ 2379 h 2606"/>
                <a:gd name="T86" fmla="*/ 292 w 2912"/>
                <a:gd name="T87" fmla="*/ 2422 h 2606"/>
                <a:gd name="T88" fmla="*/ 475 w 2912"/>
                <a:gd name="T89" fmla="*/ 2422 h 2606"/>
                <a:gd name="T90" fmla="*/ 353 w 2912"/>
                <a:gd name="T91" fmla="*/ 2434 h 2606"/>
                <a:gd name="T92" fmla="*/ 414 w 2912"/>
                <a:gd name="T93" fmla="*/ 2434 h 2606"/>
                <a:gd name="T94" fmla="*/ 2072 w 2912"/>
                <a:gd name="T95" fmla="*/ 2273 h 2606"/>
                <a:gd name="T96" fmla="*/ 1506 w 2912"/>
                <a:gd name="T97" fmla="*/ 2258 h 2606"/>
                <a:gd name="T98" fmla="*/ 1827 w 2912"/>
                <a:gd name="T99" fmla="*/ 2280 h 2606"/>
                <a:gd name="T100" fmla="*/ 1888 w 2912"/>
                <a:gd name="T101" fmla="*/ 2511 h 2606"/>
                <a:gd name="T102" fmla="*/ 1943 w 2912"/>
                <a:gd name="T103" fmla="*/ 2274 h 2606"/>
                <a:gd name="T104" fmla="*/ 1888 w 2912"/>
                <a:gd name="T105" fmla="*/ 2310 h 2606"/>
                <a:gd name="T106" fmla="*/ 723 w 2912"/>
                <a:gd name="T107" fmla="*/ 2155 h 2606"/>
                <a:gd name="T108" fmla="*/ 1133 w 2912"/>
                <a:gd name="T109" fmla="*/ 2269 h 2606"/>
                <a:gd name="T110" fmla="*/ 1045 w 2912"/>
                <a:gd name="T111" fmla="*/ 2324 h 2606"/>
                <a:gd name="T112" fmla="*/ 1207 w 2912"/>
                <a:gd name="T113" fmla="*/ 2315 h 2606"/>
                <a:gd name="T114" fmla="*/ 1306 w 2912"/>
                <a:gd name="T115" fmla="*/ 2505 h 2606"/>
                <a:gd name="T116" fmla="*/ 1323 w 2912"/>
                <a:gd name="T117" fmla="*/ 2599 h 2606"/>
                <a:gd name="T118" fmla="*/ 1277 w 2912"/>
                <a:gd name="T119" fmla="*/ 2451 h 2606"/>
                <a:gd name="T120" fmla="*/ 937 w 2912"/>
                <a:gd name="T121" fmla="*/ 2367 h 2606"/>
                <a:gd name="T122" fmla="*/ 375 w 2912"/>
                <a:gd name="T123" fmla="*/ 1073 h 2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12" h="2606">
                  <a:moveTo>
                    <a:pt x="242" y="1964"/>
                  </a:moveTo>
                  <a:lnTo>
                    <a:pt x="242" y="1964"/>
                  </a:lnTo>
                  <a:lnTo>
                    <a:pt x="242" y="1956"/>
                  </a:lnTo>
                  <a:lnTo>
                    <a:pt x="241" y="1948"/>
                  </a:lnTo>
                  <a:lnTo>
                    <a:pt x="238" y="1934"/>
                  </a:lnTo>
                  <a:lnTo>
                    <a:pt x="233" y="1921"/>
                  </a:lnTo>
                  <a:lnTo>
                    <a:pt x="227" y="1911"/>
                  </a:lnTo>
                  <a:lnTo>
                    <a:pt x="220" y="1904"/>
                  </a:lnTo>
                  <a:lnTo>
                    <a:pt x="212" y="1898"/>
                  </a:lnTo>
                  <a:lnTo>
                    <a:pt x="206" y="1893"/>
                  </a:lnTo>
                  <a:lnTo>
                    <a:pt x="200" y="1889"/>
                  </a:lnTo>
                  <a:lnTo>
                    <a:pt x="200" y="1889"/>
                  </a:lnTo>
                  <a:lnTo>
                    <a:pt x="207" y="1883"/>
                  </a:lnTo>
                  <a:lnTo>
                    <a:pt x="213" y="1877"/>
                  </a:lnTo>
                  <a:lnTo>
                    <a:pt x="219" y="1870"/>
                  </a:lnTo>
                  <a:lnTo>
                    <a:pt x="224" y="1861"/>
                  </a:lnTo>
                  <a:lnTo>
                    <a:pt x="228" y="1852"/>
                  </a:lnTo>
                  <a:lnTo>
                    <a:pt x="230" y="1843"/>
                  </a:lnTo>
                  <a:lnTo>
                    <a:pt x="232" y="1833"/>
                  </a:lnTo>
                  <a:lnTo>
                    <a:pt x="232" y="1822"/>
                  </a:lnTo>
                  <a:lnTo>
                    <a:pt x="232" y="1822"/>
                  </a:lnTo>
                  <a:lnTo>
                    <a:pt x="232" y="1812"/>
                  </a:lnTo>
                  <a:lnTo>
                    <a:pt x="231" y="1802"/>
                  </a:lnTo>
                  <a:lnTo>
                    <a:pt x="229" y="1793"/>
                  </a:lnTo>
                  <a:lnTo>
                    <a:pt x="227" y="1785"/>
                  </a:lnTo>
                  <a:lnTo>
                    <a:pt x="224" y="1776"/>
                  </a:lnTo>
                  <a:lnTo>
                    <a:pt x="220" y="1769"/>
                  </a:lnTo>
                  <a:lnTo>
                    <a:pt x="214" y="1763"/>
                  </a:lnTo>
                  <a:lnTo>
                    <a:pt x="209" y="1756"/>
                  </a:lnTo>
                  <a:lnTo>
                    <a:pt x="203" y="1752"/>
                  </a:lnTo>
                  <a:lnTo>
                    <a:pt x="197" y="1747"/>
                  </a:lnTo>
                  <a:lnTo>
                    <a:pt x="189" y="1743"/>
                  </a:lnTo>
                  <a:lnTo>
                    <a:pt x="181" y="1739"/>
                  </a:lnTo>
                  <a:lnTo>
                    <a:pt x="173" y="1737"/>
                  </a:lnTo>
                  <a:lnTo>
                    <a:pt x="163" y="1734"/>
                  </a:lnTo>
                  <a:lnTo>
                    <a:pt x="154" y="1734"/>
                  </a:lnTo>
                  <a:lnTo>
                    <a:pt x="144" y="1733"/>
                  </a:lnTo>
                  <a:lnTo>
                    <a:pt x="21" y="1733"/>
                  </a:lnTo>
                  <a:lnTo>
                    <a:pt x="21" y="2072"/>
                  </a:lnTo>
                  <a:lnTo>
                    <a:pt x="143" y="2072"/>
                  </a:lnTo>
                  <a:lnTo>
                    <a:pt x="143" y="2072"/>
                  </a:lnTo>
                  <a:lnTo>
                    <a:pt x="154" y="2072"/>
                  </a:lnTo>
                  <a:lnTo>
                    <a:pt x="164" y="2071"/>
                  </a:lnTo>
                  <a:lnTo>
                    <a:pt x="175" y="2069"/>
                  </a:lnTo>
                  <a:lnTo>
                    <a:pt x="184" y="2065"/>
                  </a:lnTo>
                  <a:lnTo>
                    <a:pt x="194" y="2061"/>
                  </a:lnTo>
                  <a:lnTo>
                    <a:pt x="202" y="2056"/>
                  </a:lnTo>
                  <a:lnTo>
                    <a:pt x="209" y="2050"/>
                  </a:lnTo>
                  <a:lnTo>
                    <a:pt x="215" y="2044"/>
                  </a:lnTo>
                  <a:lnTo>
                    <a:pt x="222" y="2037"/>
                  </a:lnTo>
                  <a:lnTo>
                    <a:pt x="227" y="2028"/>
                  </a:lnTo>
                  <a:lnTo>
                    <a:pt x="232" y="2020"/>
                  </a:lnTo>
                  <a:lnTo>
                    <a:pt x="235" y="2010"/>
                  </a:lnTo>
                  <a:lnTo>
                    <a:pt x="238" y="2000"/>
                  </a:lnTo>
                  <a:lnTo>
                    <a:pt x="240" y="1989"/>
                  </a:lnTo>
                  <a:lnTo>
                    <a:pt x="241" y="1977"/>
                  </a:lnTo>
                  <a:lnTo>
                    <a:pt x="242" y="1964"/>
                  </a:lnTo>
                  <a:lnTo>
                    <a:pt x="242" y="1964"/>
                  </a:lnTo>
                  <a:close/>
                  <a:moveTo>
                    <a:pt x="143" y="2016"/>
                  </a:moveTo>
                  <a:lnTo>
                    <a:pt x="74" y="2016"/>
                  </a:lnTo>
                  <a:lnTo>
                    <a:pt x="74" y="1919"/>
                  </a:lnTo>
                  <a:lnTo>
                    <a:pt x="143" y="1919"/>
                  </a:lnTo>
                  <a:lnTo>
                    <a:pt x="143" y="1919"/>
                  </a:lnTo>
                  <a:lnTo>
                    <a:pt x="153" y="1920"/>
                  </a:lnTo>
                  <a:lnTo>
                    <a:pt x="161" y="1921"/>
                  </a:lnTo>
                  <a:lnTo>
                    <a:pt x="169" y="1925"/>
                  </a:lnTo>
                  <a:lnTo>
                    <a:pt x="175" y="1931"/>
                  </a:lnTo>
                  <a:lnTo>
                    <a:pt x="180" y="1937"/>
                  </a:lnTo>
                  <a:lnTo>
                    <a:pt x="183" y="1946"/>
                  </a:lnTo>
                  <a:lnTo>
                    <a:pt x="185" y="1956"/>
                  </a:lnTo>
                  <a:lnTo>
                    <a:pt x="186" y="1967"/>
                  </a:lnTo>
                  <a:lnTo>
                    <a:pt x="186" y="1967"/>
                  </a:lnTo>
                  <a:lnTo>
                    <a:pt x="185" y="1978"/>
                  </a:lnTo>
                  <a:lnTo>
                    <a:pt x="183" y="1988"/>
                  </a:lnTo>
                  <a:lnTo>
                    <a:pt x="179" y="1996"/>
                  </a:lnTo>
                  <a:lnTo>
                    <a:pt x="175" y="2002"/>
                  </a:lnTo>
                  <a:lnTo>
                    <a:pt x="169" y="2009"/>
                  </a:lnTo>
                  <a:lnTo>
                    <a:pt x="161" y="2012"/>
                  </a:lnTo>
                  <a:lnTo>
                    <a:pt x="152" y="2015"/>
                  </a:lnTo>
                  <a:lnTo>
                    <a:pt x="143" y="2016"/>
                  </a:lnTo>
                  <a:lnTo>
                    <a:pt x="143" y="2016"/>
                  </a:lnTo>
                  <a:close/>
                  <a:moveTo>
                    <a:pt x="142" y="1863"/>
                  </a:moveTo>
                  <a:lnTo>
                    <a:pt x="74" y="1863"/>
                  </a:lnTo>
                  <a:lnTo>
                    <a:pt x="74" y="1791"/>
                  </a:lnTo>
                  <a:lnTo>
                    <a:pt x="139" y="1791"/>
                  </a:lnTo>
                  <a:lnTo>
                    <a:pt x="139" y="1791"/>
                  </a:lnTo>
                  <a:lnTo>
                    <a:pt x="148" y="1792"/>
                  </a:lnTo>
                  <a:lnTo>
                    <a:pt x="156" y="1793"/>
                  </a:lnTo>
                  <a:lnTo>
                    <a:pt x="162" y="1796"/>
                  </a:lnTo>
                  <a:lnTo>
                    <a:pt x="168" y="1800"/>
                  </a:lnTo>
                  <a:lnTo>
                    <a:pt x="172" y="1806"/>
                  </a:lnTo>
                  <a:lnTo>
                    <a:pt x="175" y="1812"/>
                  </a:lnTo>
                  <a:lnTo>
                    <a:pt x="176" y="1819"/>
                  </a:lnTo>
                  <a:lnTo>
                    <a:pt x="177" y="1828"/>
                  </a:lnTo>
                  <a:lnTo>
                    <a:pt x="177" y="1828"/>
                  </a:lnTo>
                  <a:lnTo>
                    <a:pt x="177" y="1834"/>
                  </a:lnTo>
                  <a:lnTo>
                    <a:pt x="176" y="1840"/>
                  </a:lnTo>
                  <a:lnTo>
                    <a:pt x="174" y="1846"/>
                  </a:lnTo>
                  <a:lnTo>
                    <a:pt x="171" y="1851"/>
                  </a:lnTo>
                  <a:lnTo>
                    <a:pt x="165" y="1856"/>
                  </a:lnTo>
                  <a:lnTo>
                    <a:pt x="159" y="1860"/>
                  </a:lnTo>
                  <a:lnTo>
                    <a:pt x="152" y="1862"/>
                  </a:lnTo>
                  <a:lnTo>
                    <a:pt x="142" y="1863"/>
                  </a:lnTo>
                  <a:lnTo>
                    <a:pt x="142" y="1863"/>
                  </a:lnTo>
                  <a:close/>
                  <a:moveTo>
                    <a:pt x="279" y="1965"/>
                  </a:moveTo>
                  <a:lnTo>
                    <a:pt x="279" y="1825"/>
                  </a:lnTo>
                  <a:lnTo>
                    <a:pt x="331" y="1825"/>
                  </a:lnTo>
                  <a:lnTo>
                    <a:pt x="331" y="1962"/>
                  </a:lnTo>
                  <a:lnTo>
                    <a:pt x="331" y="1962"/>
                  </a:lnTo>
                  <a:lnTo>
                    <a:pt x="331" y="1975"/>
                  </a:lnTo>
                  <a:lnTo>
                    <a:pt x="333" y="1989"/>
                  </a:lnTo>
                  <a:lnTo>
                    <a:pt x="336" y="1999"/>
                  </a:lnTo>
                  <a:lnTo>
                    <a:pt x="340" y="2007"/>
                  </a:lnTo>
                  <a:lnTo>
                    <a:pt x="346" y="2013"/>
                  </a:lnTo>
                  <a:lnTo>
                    <a:pt x="352" y="2018"/>
                  </a:lnTo>
                  <a:lnTo>
                    <a:pt x="360" y="2021"/>
                  </a:lnTo>
                  <a:lnTo>
                    <a:pt x="369" y="2022"/>
                  </a:lnTo>
                  <a:lnTo>
                    <a:pt x="369" y="2022"/>
                  </a:lnTo>
                  <a:lnTo>
                    <a:pt x="379" y="2021"/>
                  </a:lnTo>
                  <a:lnTo>
                    <a:pt x="386" y="2018"/>
                  </a:lnTo>
                  <a:lnTo>
                    <a:pt x="393" y="2013"/>
                  </a:lnTo>
                  <a:lnTo>
                    <a:pt x="399" y="2007"/>
                  </a:lnTo>
                  <a:lnTo>
                    <a:pt x="403" y="1999"/>
                  </a:lnTo>
                  <a:lnTo>
                    <a:pt x="406" y="1988"/>
                  </a:lnTo>
                  <a:lnTo>
                    <a:pt x="408" y="1975"/>
                  </a:lnTo>
                  <a:lnTo>
                    <a:pt x="408" y="1962"/>
                  </a:lnTo>
                  <a:lnTo>
                    <a:pt x="408" y="1825"/>
                  </a:lnTo>
                  <a:lnTo>
                    <a:pt x="460" y="1825"/>
                  </a:lnTo>
                  <a:lnTo>
                    <a:pt x="460" y="2072"/>
                  </a:lnTo>
                  <a:lnTo>
                    <a:pt x="408" y="2072"/>
                  </a:lnTo>
                  <a:lnTo>
                    <a:pt x="408" y="2053"/>
                  </a:lnTo>
                  <a:lnTo>
                    <a:pt x="408" y="2053"/>
                  </a:lnTo>
                  <a:lnTo>
                    <a:pt x="404" y="2059"/>
                  </a:lnTo>
                  <a:lnTo>
                    <a:pt x="398" y="2064"/>
                  </a:lnTo>
                  <a:lnTo>
                    <a:pt x="392" y="2069"/>
                  </a:lnTo>
                  <a:lnTo>
                    <a:pt x="386" y="2071"/>
                  </a:lnTo>
                  <a:lnTo>
                    <a:pt x="380" y="2075"/>
                  </a:lnTo>
                  <a:lnTo>
                    <a:pt x="373" y="2076"/>
                  </a:lnTo>
                  <a:lnTo>
                    <a:pt x="365" y="2077"/>
                  </a:lnTo>
                  <a:lnTo>
                    <a:pt x="358" y="2079"/>
                  </a:lnTo>
                  <a:lnTo>
                    <a:pt x="358" y="2079"/>
                  </a:lnTo>
                  <a:lnTo>
                    <a:pt x="346" y="2077"/>
                  </a:lnTo>
                  <a:lnTo>
                    <a:pt x="335" y="2075"/>
                  </a:lnTo>
                  <a:lnTo>
                    <a:pt x="326" y="2071"/>
                  </a:lnTo>
                  <a:lnTo>
                    <a:pt x="316" y="2066"/>
                  </a:lnTo>
                  <a:lnTo>
                    <a:pt x="309" y="2060"/>
                  </a:lnTo>
                  <a:lnTo>
                    <a:pt x="303" y="2054"/>
                  </a:lnTo>
                  <a:lnTo>
                    <a:pt x="298" y="2045"/>
                  </a:lnTo>
                  <a:lnTo>
                    <a:pt x="292" y="2037"/>
                  </a:lnTo>
                  <a:lnTo>
                    <a:pt x="289" y="2028"/>
                  </a:lnTo>
                  <a:lnTo>
                    <a:pt x="286" y="2020"/>
                  </a:lnTo>
                  <a:lnTo>
                    <a:pt x="282" y="2000"/>
                  </a:lnTo>
                  <a:lnTo>
                    <a:pt x="280" y="1981"/>
                  </a:lnTo>
                  <a:lnTo>
                    <a:pt x="279" y="1965"/>
                  </a:lnTo>
                  <a:lnTo>
                    <a:pt x="279" y="1965"/>
                  </a:lnTo>
                  <a:close/>
                  <a:moveTo>
                    <a:pt x="1070" y="2072"/>
                  </a:moveTo>
                  <a:lnTo>
                    <a:pt x="1018" y="2072"/>
                  </a:lnTo>
                  <a:lnTo>
                    <a:pt x="1018" y="1825"/>
                  </a:lnTo>
                  <a:lnTo>
                    <a:pt x="1070" y="1825"/>
                  </a:lnTo>
                  <a:lnTo>
                    <a:pt x="1070" y="1846"/>
                  </a:lnTo>
                  <a:lnTo>
                    <a:pt x="1070" y="1846"/>
                  </a:lnTo>
                  <a:lnTo>
                    <a:pt x="1075" y="1840"/>
                  </a:lnTo>
                  <a:lnTo>
                    <a:pt x="1080" y="1834"/>
                  </a:lnTo>
                  <a:lnTo>
                    <a:pt x="1087" y="1830"/>
                  </a:lnTo>
                  <a:lnTo>
                    <a:pt x="1093" y="1827"/>
                  </a:lnTo>
                  <a:lnTo>
                    <a:pt x="1100" y="1823"/>
                  </a:lnTo>
                  <a:lnTo>
                    <a:pt x="1106" y="1822"/>
                  </a:lnTo>
                  <a:lnTo>
                    <a:pt x="1115" y="1820"/>
                  </a:lnTo>
                  <a:lnTo>
                    <a:pt x="1122" y="1819"/>
                  </a:lnTo>
                  <a:lnTo>
                    <a:pt x="1122" y="1819"/>
                  </a:lnTo>
                  <a:lnTo>
                    <a:pt x="1131" y="1820"/>
                  </a:lnTo>
                  <a:lnTo>
                    <a:pt x="1140" y="1822"/>
                  </a:lnTo>
                  <a:lnTo>
                    <a:pt x="1148" y="1824"/>
                  </a:lnTo>
                  <a:lnTo>
                    <a:pt x="1155" y="1827"/>
                  </a:lnTo>
                  <a:lnTo>
                    <a:pt x="1163" y="1830"/>
                  </a:lnTo>
                  <a:lnTo>
                    <a:pt x="1169" y="1836"/>
                  </a:lnTo>
                  <a:lnTo>
                    <a:pt x="1174" y="1841"/>
                  </a:lnTo>
                  <a:lnTo>
                    <a:pt x="1179" y="1849"/>
                  </a:lnTo>
                  <a:lnTo>
                    <a:pt x="1184" y="1856"/>
                  </a:lnTo>
                  <a:lnTo>
                    <a:pt x="1187" y="1865"/>
                  </a:lnTo>
                  <a:lnTo>
                    <a:pt x="1192" y="1873"/>
                  </a:lnTo>
                  <a:lnTo>
                    <a:pt x="1194" y="1883"/>
                  </a:lnTo>
                  <a:lnTo>
                    <a:pt x="1196" y="1894"/>
                  </a:lnTo>
                  <a:lnTo>
                    <a:pt x="1198" y="1906"/>
                  </a:lnTo>
                  <a:lnTo>
                    <a:pt x="1199" y="1919"/>
                  </a:lnTo>
                  <a:lnTo>
                    <a:pt x="1199" y="1932"/>
                  </a:lnTo>
                  <a:lnTo>
                    <a:pt x="1199" y="2072"/>
                  </a:lnTo>
                  <a:lnTo>
                    <a:pt x="1147" y="2072"/>
                  </a:lnTo>
                  <a:lnTo>
                    <a:pt x="1147" y="1936"/>
                  </a:lnTo>
                  <a:lnTo>
                    <a:pt x="1147" y="1936"/>
                  </a:lnTo>
                  <a:lnTo>
                    <a:pt x="1147" y="1921"/>
                  </a:lnTo>
                  <a:lnTo>
                    <a:pt x="1145" y="1909"/>
                  </a:lnTo>
                  <a:lnTo>
                    <a:pt x="1142" y="1899"/>
                  </a:lnTo>
                  <a:lnTo>
                    <a:pt x="1138" y="1890"/>
                  </a:lnTo>
                  <a:lnTo>
                    <a:pt x="1132" y="1884"/>
                  </a:lnTo>
                  <a:lnTo>
                    <a:pt x="1126" y="1879"/>
                  </a:lnTo>
                  <a:lnTo>
                    <a:pt x="1119" y="1877"/>
                  </a:lnTo>
                  <a:lnTo>
                    <a:pt x="1109" y="1876"/>
                  </a:lnTo>
                  <a:lnTo>
                    <a:pt x="1109" y="1876"/>
                  </a:lnTo>
                  <a:lnTo>
                    <a:pt x="1100" y="1877"/>
                  </a:lnTo>
                  <a:lnTo>
                    <a:pt x="1092" y="1879"/>
                  </a:lnTo>
                  <a:lnTo>
                    <a:pt x="1085" y="1884"/>
                  </a:lnTo>
                  <a:lnTo>
                    <a:pt x="1080" y="1890"/>
                  </a:lnTo>
                  <a:lnTo>
                    <a:pt x="1075" y="1899"/>
                  </a:lnTo>
                  <a:lnTo>
                    <a:pt x="1072" y="1910"/>
                  </a:lnTo>
                  <a:lnTo>
                    <a:pt x="1070" y="1922"/>
                  </a:lnTo>
                  <a:lnTo>
                    <a:pt x="1070" y="1936"/>
                  </a:lnTo>
                  <a:lnTo>
                    <a:pt x="1070" y="2072"/>
                  </a:lnTo>
                  <a:close/>
                  <a:moveTo>
                    <a:pt x="559" y="1948"/>
                  </a:moveTo>
                  <a:lnTo>
                    <a:pt x="559" y="2072"/>
                  </a:lnTo>
                  <a:lnTo>
                    <a:pt x="507" y="2072"/>
                  </a:lnTo>
                  <a:lnTo>
                    <a:pt x="507" y="1825"/>
                  </a:lnTo>
                  <a:lnTo>
                    <a:pt x="559" y="1825"/>
                  </a:lnTo>
                  <a:lnTo>
                    <a:pt x="559" y="1948"/>
                  </a:lnTo>
                  <a:close/>
                  <a:moveTo>
                    <a:pt x="605" y="1753"/>
                  </a:moveTo>
                  <a:lnTo>
                    <a:pt x="657" y="1722"/>
                  </a:lnTo>
                  <a:lnTo>
                    <a:pt x="657" y="1946"/>
                  </a:lnTo>
                  <a:lnTo>
                    <a:pt x="657" y="2072"/>
                  </a:lnTo>
                  <a:lnTo>
                    <a:pt x="605" y="2072"/>
                  </a:lnTo>
                  <a:lnTo>
                    <a:pt x="605" y="1753"/>
                  </a:lnTo>
                  <a:close/>
                  <a:moveTo>
                    <a:pt x="821" y="1843"/>
                  </a:moveTo>
                  <a:lnTo>
                    <a:pt x="821" y="1843"/>
                  </a:lnTo>
                  <a:lnTo>
                    <a:pt x="817" y="1836"/>
                  </a:lnTo>
                  <a:lnTo>
                    <a:pt x="812" y="1833"/>
                  </a:lnTo>
                  <a:lnTo>
                    <a:pt x="806" y="1828"/>
                  </a:lnTo>
                  <a:lnTo>
                    <a:pt x="800" y="1825"/>
                  </a:lnTo>
                  <a:lnTo>
                    <a:pt x="794" y="1823"/>
                  </a:lnTo>
                  <a:lnTo>
                    <a:pt x="788" y="1820"/>
                  </a:lnTo>
                  <a:lnTo>
                    <a:pt x="775" y="1819"/>
                  </a:lnTo>
                  <a:lnTo>
                    <a:pt x="775" y="1819"/>
                  </a:lnTo>
                  <a:lnTo>
                    <a:pt x="766" y="1820"/>
                  </a:lnTo>
                  <a:lnTo>
                    <a:pt x="757" y="1822"/>
                  </a:lnTo>
                  <a:lnTo>
                    <a:pt x="748" y="1824"/>
                  </a:lnTo>
                  <a:lnTo>
                    <a:pt x="741" y="1828"/>
                  </a:lnTo>
                  <a:lnTo>
                    <a:pt x="734" y="1833"/>
                  </a:lnTo>
                  <a:lnTo>
                    <a:pt x="726" y="1839"/>
                  </a:lnTo>
                  <a:lnTo>
                    <a:pt x="720" y="1846"/>
                  </a:lnTo>
                  <a:lnTo>
                    <a:pt x="715" y="1854"/>
                  </a:lnTo>
                  <a:lnTo>
                    <a:pt x="710" y="1862"/>
                  </a:lnTo>
                  <a:lnTo>
                    <a:pt x="706" y="1872"/>
                  </a:lnTo>
                  <a:lnTo>
                    <a:pt x="701" y="1882"/>
                  </a:lnTo>
                  <a:lnTo>
                    <a:pt x="698" y="1893"/>
                  </a:lnTo>
                  <a:lnTo>
                    <a:pt x="696" y="1905"/>
                  </a:lnTo>
                  <a:lnTo>
                    <a:pt x="694" y="1919"/>
                  </a:lnTo>
                  <a:lnTo>
                    <a:pt x="693" y="1932"/>
                  </a:lnTo>
                  <a:lnTo>
                    <a:pt x="693" y="1946"/>
                  </a:lnTo>
                  <a:lnTo>
                    <a:pt x="693" y="1946"/>
                  </a:lnTo>
                  <a:lnTo>
                    <a:pt x="693" y="1962"/>
                  </a:lnTo>
                  <a:lnTo>
                    <a:pt x="694" y="1975"/>
                  </a:lnTo>
                  <a:lnTo>
                    <a:pt x="696" y="1989"/>
                  </a:lnTo>
                  <a:lnTo>
                    <a:pt x="698" y="2001"/>
                  </a:lnTo>
                  <a:lnTo>
                    <a:pt x="701" y="2013"/>
                  </a:lnTo>
                  <a:lnTo>
                    <a:pt x="705" y="2024"/>
                  </a:lnTo>
                  <a:lnTo>
                    <a:pt x="709" y="2034"/>
                  </a:lnTo>
                  <a:lnTo>
                    <a:pt x="714" y="2043"/>
                  </a:lnTo>
                  <a:lnTo>
                    <a:pt x="720" y="2052"/>
                  </a:lnTo>
                  <a:lnTo>
                    <a:pt x="725" y="2058"/>
                  </a:lnTo>
                  <a:lnTo>
                    <a:pt x="733" y="2064"/>
                  </a:lnTo>
                  <a:lnTo>
                    <a:pt x="740" y="2069"/>
                  </a:lnTo>
                  <a:lnTo>
                    <a:pt x="747" y="2072"/>
                  </a:lnTo>
                  <a:lnTo>
                    <a:pt x="756" y="2076"/>
                  </a:lnTo>
                  <a:lnTo>
                    <a:pt x="765" y="2077"/>
                  </a:lnTo>
                  <a:lnTo>
                    <a:pt x="774" y="2079"/>
                  </a:lnTo>
                  <a:lnTo>
                    <a:pt x="774" y="2079"/>
                  </a:lnTo>
                  <a:lnTo>
                    <a:pt x="781" y="2077"/>
                  </a:lnTo>
                  <a:lnTo>
                    <a:pt x="787" y="2076"/>
                  </a:lnTo>
                  <a:lnTo>
                    <a:pt x="793" y="2075"/>
                  </a:lnTo>
                  <a:lnTo>
                    <a:pt x="799" y="2072"/>
                  </a:lnTo>
                  <a:lnTo>
                    <a:pt x="804" y="2069"/>
                  </a:lnTo>
                  <a:lnTo>
                    <a:pt x="811" y="2065"/>
                  </a:lnTo>
                  <a:lnTo>
                    <a:pt x="816" y="2060"/>
                  </a:lnTo>
                  <a:lnTo>
                    <a:pt x="821" y="2054"/>
                  </a:lnTo>
                  <a:lnTo>
                    <a:pt x="821" y="2072"/>
                  </a:lnTo>
                  <a:lnTo>
                    <a:pt x="873" y="2072"/>
                  </a:lnTo>
                  <a:lnTo>
                    <a:pt x="873" y="1722"/>
                  </a:lnTo>
                  <a:lnTo>
                    <a:pt x="821" y="1753"/>
                  </a:lnTo>
                  <a:lnTo>
                    <a:pt x="821" y="1843"/>
                  </a:lnTo>
                  <a:close/>
                  <a:moveTo>
                    <a:pt x="785" y="2022"/>
                  </a:moveTo>
                  <a:lnTo>
                    <a:pt x="785" y="2022"/>
                  </a:lnTo>
                  <a:lnTo>
                    <a:pt x="778" y="2021"/>
                  </a:lnTo>
                  <a:lnTo>
                    <a:pt x="771" y="2018"/>
                  </a:lnTo>
                  <a:lnTo>
                    <a:pt x="765" y="2015"/>
                  </a:lnTo>
                  <a:lnTo>
                    <a:pt x="759" y="2007"/>
                  </a:lnTo>
                  <a:lnTo>
                    <a:pt x="753" y="1997"/>
                  </a:lnTo>
                  <a:lnTo>
                    <a:pt x="749" y="1984"/>
                  </a:lnTo>
                  <a:lnTo>
                    <a:pt x="746" y="1967"/>
                  </a:lnTo>
                  <a:lnTo>
                    <a:pt x="745" y="1945"/>
                  </a:lnTo>
                  <a:lnTo>
                    <a:pt x="745" y="1945"/>
                  </a:lnTo>
                  <a:lnTo>
                    <a:pt x="746" y="1925"/>
                  </a:lnTo>
                  <a:lnTo>
                    <a:pt x="749" y="1910"/>
                  </a:lnTo>
                  <a:lnTo>
                    <a:pt x="753" y="1898"/>
                  </a:lnTo>
                  <a:lnTo>
                    <a:pt x="759" y="1889"/>
                  </a:lnTo>
                  <a:lnTo>
                    <a:pt x="764" y="1882"/>
                  </a:lnTo>
                  <a:lnTo>
                    <a:pt x="771" y="1878"/>
                  </a:lnTo>
                  <a:lnTo>
                    <a:pt x="777" y="1876"/>
                  </a:lnTo>
                  <a:lnTo>
                    <a:pt x="785" y="1876"/>
                  </a:lnTo>
                  <a:lnTo>
                    <a:pt x="785" y="1876"/>
                  </a:lnTo>
                  <a:lnTo>
                    <a:pt x="791" y="1876"/>
                  </a:lnTo>
                  <a:lnTo>
                    <a:pt x="797" y="1878"/>
                  </a:lnTo>
                  <a:lnTo>
                    <a:pt x="803" y="1881"/>
                  </a:lnTo>
                  <a:lnTo>
                    <a:pt x="808" y="1884"/>
                  </a:lnTo>
                  <a:lnTo>
                    <a:pt x="812" y="1888"/>
                  </a:lnTo>
                  <a:lnTo>
                    <a:pt x="816" y="1892"/>
                  </a:lnTo>
                  <a:lnTo>
                    <a:pt x="821" y="1900"/>
                  </a:lnTo>
                  <a:lnTo>
                    <a:pt x="821" y="1997"/>
                  </a:lnTo>
                  <a:lnTo>
                    <a:pt x="821" y="1997"/>
                  </a:lnTo>
                  <a:lnTo>
                    <a:pt x="815" y="2006"/>
                  </a:lnTo>
                  <a:lnTo>
                    <a:pt x="808" y="2013"/>
                  </a:lnTo>
                  <a:lnTo>
                    <a:pt x="803" y="2017"/>
                  </a:lnTo>
                  <a:lnTo>
                    <a:pt x="797" y="2020"/>
                  </a:lnTo>
                  <a:lnTo>
                    <a:pt x="792" y="2021"/>
                  </a:lnTo>
                  <a:lnTo>
                    <a:pt x="785" y="2022"/>
                  </a:lnTo>
                  <a:lnTo>
                    <a:pt x="785" y="2022"/>
                  </a:lnTo>
                  <a:close/>
                  <a:moveTo>
                    <a:pt x="1951" y="1819"/>
                  </a:moveTo>
                  <a:lnTo>
                    <a:pt x="1951" y="1819"/>
                  </a:lnTo>
                  <a:lnTo>
                    <a:pt x="1946" y="1820"/>
                  </a:lnTo>
                  <a:lnTo>
                    <a:pt x="1940" y="1822"/>
                  </a:lnTo>
                  <a:lnTo>
                    <a:pt x="1927" y="1825"/>
                  </a:lnTo>
                  <a:lnTo>
                    <a:pt x="1916" y="1833"/>
                  </a:lnTo>
                  <a:lnTo>
                    <a:pt x="1906" y="1843"/>
                  </a:lnTo>
                  <a:lnTo>
                    <a:pt x="1906" y="1728"/>
                  </a:lnTo>
                  <a:lnTo>
                    <a:pt x="1854" y="1759"/>
                  </a:lnTo>
                  <a:lnTo>
                    <a:pt x="1854" y="2072"/>
                  </a:lnTo>
                  <a:lnTo>
                    <a:pt x="1906" y="2072"/>
                  </a:lnTo>
                  <a:lnTo>
                    <a:pt x="1906" y="2054"/>
                  </a:lnTo>
                  <a:lnTo>
                    <a:pt x="1906" y="2054"/>
                  </a:lnTo>
                  <a:lnTo>
                    <a:pt x="1910" y="2060"/>
                  </a:lnTo>
                  <a:lnTo>
                    <a:pt x="1916" y="2065"/>
                  </a:lnTo>
                  <a:lnTo>
                    <a:pt x="1921" y="2069"/>
                  </a:lnTo>
                  <a:lnTo>
                    <a:pt x="1927" y="2072"/>
                  </a:lnTo>
                  <a:lnTo>
                    <a:pt x="1933" y="2075"/>
                  </a:lnTo>
                  <a:lnTo>
                    <a:pt x="1940" y="2076"/>
                  </a:lnTo>
                  <a:lnTo>
                    <a:pt x="1946" y="2077"/>
                  </a:lnTo>
                  <a:lnTo>
                    <a:pt x="1952" y="2079"/>
                  </a:lnTo>
                  <a:lnTo>
                    <a:pt x="1952" y="2079"/>
                  </a:lnTo>
                  <a:lnTo>
                    <a:pt x="1962" y="2077"/>
                  </a:lnTo>
                  <a:lnTo>
                    <a:pt x="1971" y="2076"/>
                  </a:lnTo>
                  <a:lnTo>
                    <a:pt x="1979" y="2074"/>
                  </a:lnTo>
                  <a:lnTo>
                    <a:pt x="1988" y="2069"/>
                  </a:lnTo>
                  <a:lnTo>
                    <a:pt x="1995" y="2064"/>
                  </a:lnTo>
                  <a:lnTo>
                    <a:pt x="2001" y="2059"/>
                  </a:lnTo>
                  <a:lnTo>
                    <a:pt x="2008" y="2052"/>
                  </a:lnTo>
                  <a:lnTo>
                    <a:pt x="2013" y="2044"/>
                  </a:lnTo>
                  <a:lnTo>
                    <a:pt x="2018" y="2034"/>
                  </a:lnTo>
                  <a:lnTo>
                    <a:pt x="2022" y="2024"/>
                  </a:lnTo>
                  <a:lnTo>
                    <a:pt x="2025" y="2013"/>
                  </a:lnTo>
                  <a:lnTo>
                    <a:pt x="2028" y="2002"/>
                  </a:lnTo>
                  <a:lnTo>
                    <a:pt x="2032" y="1990"/>
                  </a:lnTo>
                  <a:lnTo>
                    <a:pt x="2033" y="1977"/>
                  </a:lnTo>
                  <a:lnTo>
                    <a:pt x="2034" y="1962"/>
                  </a:lnTo>
                  <a:lnTo>
                    <a:pt x="2035" y="1946"/>
                  </a:lnTo>
                  <a:lnTo>
                    <a:pt x="2035" y="1946"/>
                  </a:lnTo>
                  <a:lnTo>
                    <a:pt x="2034" y="1932"/>
                  </a:lnTo>
                  <a:lnTo>
                    <a:pt x="2033" y="1919"/>
                  </a:lnTo>
                  <a:lnTo>
                    <a:pt x="2030" y="1905"/>
                  </a:lnTo>
                  <a:lnTo>
                    <a:pt x="2028" y="1893"/>
                  </a:lnTo>
                  <a:lnTo>
                    <a:pt x="2025" y="1882"/>
                  </a:lnTo>
                  <a:lnTo>
                    <a:pt x="2021" y="1872"/>
                  </a:lnTo>
                  <a:lnTo>
                    <a:pt x="2017" y="1862"/>
                  </a:lnTo>
                  <a:lnTo>
                    <a:pt x="2012" y="1854"/>
                  </a:lnTo>
                  <a:lnTo>
                    <a:pt x="2007" y="1846"/>
                  </a:lnTo>
                  <a:lnTo>
                    <a:pt x="2000" y="1839"/>
                  </a:lnTo>
                  <a:lnTo>
                    <a:pt x="1993" y="1833"/>
                  </a:lnTo>
                  <a:lnTo>
                    <a:pt x="1986" y="1828"/>
                  </a:lnTo>
                  <a:lnTo>
                    <a:pt x="1978" y="1824"/>
                  </a:lnTo>
                  <a:lnTo>
                    <a:pt x="1970" y="1822"/>
                  </a:lnTo>
                  <a:lnTo>
                    <a:pt x="1961" y="1820"/>
                  </a:lnTo>
                  <a:lnTo>
                    <a:pt x="1951" y="1819"/>
                  </a:lnTo>
                  <a:lnTo>
                    <a:pt x="1951" y="1819"/>
                  </a:lnTo>
                  <a:close/>
                  <a:moveTo>
                    <a:pt x="1942" y="1876"/>
                  </a:moveTo>
                  <a:lnTo>
                    <a:pt x="1942" y="1876"/>
                  </a:lnTo>
                  <a:lnTo>
                    <a:pt x="1949" y="1877"/>
                  </a:lnTo>
                  <a:lnTo>
                    <a:pt x="1957" y="1879"/>
                  </a:lnTo>
                  <a:lnTo>
                    <a:pt x="1963" y="1884"/>
                  </a:lnTo>
                  <a:lnTo>
                    <a:pt x="1969" y="1892"/>
                  </a:lnTo>
                  <a:lnTo>
                    <a:pt x="1974" y="1900"/>
                  </a:lnTo>
                  <a:lnTo>
                    <a:pt x="1977" y="1913"/>
                  </a:lnTo>
                  <a:lnTo>
                    <a:pt x="1981" y="1927"/>
                  </a:lnTo>
                  <a:lnTo>
                    <a:pt x="1982" y="1945"/>
                  </a:lnTo>
                  <a:lnTo>
                    <a:pt x="1982" y="1945"/>
                  </a:lnTo>
                  <a:lnTo>
                    <a:pt x="1981" y="1963"/>
                  </a:lnTo>
                  <a:lnTo>
                    <a:pt x="1978" y="1979"/>
                  </a:lnTo>
                  <a:lnTo>
                    <a:pt x="1976" y="1991"/>
                  </a:lnTo>
                  <a:lnTo>
                    <a:pt x="1972" y="2002"/>
                  </a:lnTo>
                  <a:lnTo>
                    <a:pt x="1966" y="2011"/>
                  </a:lnTo>
                  <a:lnTo>
                    <a:pt x="1960" y="2017"/>
                  </a:lnTo>
                  <a:lnTo>
                    <a:pt x="1952" y="2021"/>
                  </a:lnTo>
                  <a:lnTo>
                    <a:pt x="1943" y="2022"/>
                  </a:lnTo>
                  <a:lnTo>
                    <a:pt x="1943" y="2022"/>
                  </a:lnTo>
                  <a:lnTo>
                    <a:pt x="1936" y="2021"/>
                  </a:lnTo>
                  <a:lnTo>
                    <a:pt x="1930" y="2020"/>
                  </a:lnTo>
                  <a:lnTo>
                    <a:pt x="1924" y="2016"/>
                  </a:lnTo>
                  <a:lnTo>
                    <a:pt x="1919" y="2013"/>
                  </a:lnTo>
                  <a:lnTo>
                    <a:pt x="1911" y="2005"/>
                  </a:lnTo>
                  <a:lnTo>
                    <a:pt x="1906" y="1999"/>
                  </a:lnTo>
                  <a:lnTo>
                    <a:pt x="1906" y="1900"/>
                  </a:lnTo>
                  <a:lnTo>
                    <a:pt x="1906" y="1900"/>
                  </a:lnTo>
                  <a:lnTo>
                    <a:pt x="1909" y="1895"/>
                  </a:lnTo>
                  <a:lnTo>
                    <a:pt x="1913" y="1890"/>
                  </a:lnTo>
                  <a:lnTo>
                    <a:pt x="1917" y="1886"/>
                  </a:lnTo>
                  <a:lnTo>
                    <a:pt x="1921" y="1882"/>
                  </a:lnTo>
                  <a:lnTo>
                    <a:pt x="1926" y="1879"/>
                  </a:lnTo>
                  <a:lnTo>
                    <a:pt x="1932" y="1877"/>
                  </a:lnTo>
                  <a:lnTo>
                    <a:pt x="1937" y="1876"/>
                  </a:lnTo>
                  <a:lnTo>
                    <a:pt x="1942" y="1876"/>
                  </a:lnTo>
                  <a:lnTo>
                    <a:pt x="1942" y="1876"/>
                  </a:lnTo>
                  <a:close/>
                  <a:moveTo>
                    <a:pt x="1362" y="1843"/>
                  </a:moveTo>
                  <a:lnTo>
                    <a:pt x="1362" y="1843"/>
                  </a:lnTo>
                  <a:lnTo>
                    <a:pt x="1358" y="1838"/>
                  </a:lnTo>
                  <a:lnTo>
                    <a:pt x="1353" y="1833"/>
                  </a:lnTo>
                  <a:lnTo>
                    <a:pt x="1347" y="1829"/>
                  </a:lnTo>
                  <a:lnTo>
                    <a:pt x="1342" y="1825"/>
                  </a:lnTo>
                  <a:lnTo>
                    <a:pt x="1335" y="1823"/>
                  </a:lnTo>
                  <a:lnTo>
                    <a:pt x="1329" y="1820"/>
                  </a:lnTo>
                  <a:lnTo>
                    <a:pt x="1323" y="1820"/>
                  </a:lnTo>
                  <a:lnTo>
                    <a:pt x="1317" y="1819"/>
                  </a:lnTo>
                  <a:lnTo>
                    <a:pt x="1317" y="1819"/>
                  </a:lnTo>
                  <a:lnTo>
                    <a:pt x="1307" y="1820"/>
                  </a:lnTo>
                  <a:lnTo>
                    <a:pt x="1298" y="1822"/>
                  </a:lnTo>
                  <a:lnTo>
                    <a:pt x="1289" y="1824"/>
                  </a:lnTo>
                  <a:lnTo>
                    <a:pt x="1282" y="1828"/>
                  </a:lnTo>
                  <a:lnTo>
                    <a:pt x="1275" y="1833"/>
                  </a:lnTo>
                  <a:lnTo>
                    <a:pt x="1268" y="1839"/>
                  </a:lnTo>
                  <a:lnTo>
                    <a:pt x="1261" y="1846"/>
                  </a:lnTo>
                  <a:lnTo>
                    <a:pt x="1256" y="1854"/>
                  </a:lnTo>
                  <a:lnTo>
                    <a:pt x="1251" y="1862"/>
                  </a:lnTo>
                  <a:lnTo>
                    <a:pt x="1247" y="1872"/>
                  </a:lnTo>
                  <a:lnTo>
                    <a:pt x="1243" y="1882"/>
                  </a:lnTo>
                  <a:lnTo>
                    <a:pt x="1240" y="1893"/>
                  </a:lnTo>
                  <a:lnTo>
                    <a:pt x="1237" y="1905"/>
                  </a:lnTo>
                  <a:lnTo>
                    <a:pt x="1235" y="1919"/>
                  </a:lnTo>
                  <a:lnTo>
                    <a:pt x="1234" y="1932"/>
                  </a:lnTo>
                  <a:lnTo>
                    <a:pt x="1234" y="1946"/>
                  </a:lnTo>
                  <a:lnTo>
                    <a:pt x="1234" y="1946"/>
                  </a:lnTo>
                  <a:lnTo>
                    <a:pt x="1234" y="1962"/>
                  </a:lnTo>
                  <a:lnTo>
                    <a:pt x="1235" y="1975"/>
                  </a:lnTo>
                  <a:lnTo>
                    <a:pt x="1237" y="1989"/>
                  </a:lnTo>
                  <a:lnTo>
                    <a:pt x="1240" y="2001"/>
                  </a:lnTo>
                  <a:lnTo>
                    <a:pt x="1243" y="2013"/>
                  </a:lnTo>
                  <a:lnTo>
                    <a:pt x="1246" y="2024"/>
                  </a:lnTo>
                  <a:lnTo>
                    <a:pt x="1251" y="2034"/>
                  </a:lnTo>
                  <a:lnTo>
                    <a:pt x="1255" y="2043"/>
                  </a:lnTo>
                  <a:lnTo>
                    <a:pt x="1261" y="2052"/>
                  </a:lnTo>
                  <a:lnTo>
                    <a:pt x="1267" y="2058"/>
                  </a:lnTo>
                  <a:lnTo>
                    <a:pt x="1274" y="2064"/>
                  </a:lnTo>
                  <a:lnTo>
                    <a:pt x="1281" y="2069"/>
                  </a:lnTo>
                  <a:lnTo>
                    <a:pt x="1288" y="2072"/>
                  </a:lnTo>
                  <a:lnTo>
                    <a:pt x="1297" y="2076"/>
                  </a:lnTo>
                  <a:lnTo>
                    <a:pt x="1306" y="2077"/>
                  </a:lnTo>
                  <a:lnTo>
                    <a:pt x="1315" y="2077"/>
                  </a:lnTo>
                  <a:lnTo>
                    <a:pt x="1315" y="2077"/>
                  </a:lnTo>
                  <a:lnTo>
                    <a:pt x="1322" y="2077"/>
                  </a:lnTo>
                  <a:lnTo>
                    <a:pt x="1328" y="2076"/>
                  </a:lnTo>
                  <a:lnTo>
                    <a:pt x="1334" y="2075"/>
                  </a:lnTo>
                  <a:lnTo>
                    <a:pt x="1340" y="2072"/>
                  </a:lnTo>
                  <a:lnTo>
                    <a:pt x="1347" y="2069"/>
                  </a:lnTo>
                  <a:lnTo>
                    <a:pt x="1352" y="2064"/>
                  </a:lnTo>
                  <a:lnTo>
                    <a:pt x="1357" y="2060"/>
                  </a:lnTo>
                  <a:lnTo>
                    <a:pt x="1362" y="2054"/>
                  </a:lnTo>
                  <a:lnTo>
                    <a:pt x="1362" y="2060"/>
                  </a:lnTo>
                  <a:lnTo>
                    <a:pt x="1362" y="2060"/>
                  </a:lnTo>
                  <a:lnTo>
                    <a:pt x="1362" y="2070"/>
                  </a:lnTo>
                  <a:lnTo>
                    <a:pt x="1361" y="2081"/>
                  </a:lnTo>
                  <a:lnTo>
                    <a:pt x="1359" y="2092"/>
                  </a:lnTo>
                  <a:lnTo>
                    <a:pt x="1357" y="2097"/>
                  </a:lnTo>
                  <a:lnTo>
                    <a:pt x="1354" y="2102"/>
                  </a:lnTo>
                  <a:lnTo>
                    <a:pt x="1351" y="2107"/>
                  </a:lnTo>
                  <a:lnTo>
                    <a:pt x="1347" y="2112"/>
                  </a:lnTo>
                  <a:lnTo>
                    <a:pt x="1340" y="2115"/>
                  </a:lnTo>
                  <a:lnTo>
                    <a:pt x="1334" y="2118"/>
                  </a:lnTo>
                  <a:lnTo>
                    <a:pt x="1327" y="2122"/>
                  </a:lnTo>
                  <a:lnTo>
                    <a:pt x="1318" y="2123"/>
                  </a:lnTo>
                  <a:lnTo>
                    <a:pt x="1307" y="2125"/>
                  </a:lnTo>
                  <a:lnTo>
                    <a:pt x="1296" y="2125"/>
                  </a:lnTo>
                  <a:lnTo>
                    <a:pt x="1294" y="2125"/>
                  </a:lnTo>
                  <a:lnTo>
                    <a:pt x="1311" y="2173"/>
                  </a:lnTo>
                  <a:lnTo>
                    <a:pt x="1312" y="2173"/>
                  </a:lnTo>
                  <a:lnTo>
                    <a:pt x="1312" y="2173"/>
                  </a:lnTo>
                  <a:lnTo>
                    <a:pt x="1325" y="2173"/>
                  </a:lnTo>
                  <a:lnTo>
                    <a:pt x="1336" y="2171"/>
                  </a:lnTo>
                  <a:lnTo>
                    <a:pt x="1348" y="2168"/>
                  </a:lnTo>
                  <a:lnTo>
                    <a:pt x="1357" y="2165"/>
                  </a:lnTo>
                  <a:lnTo>
                    <a:pt x="1366" y="2161"/>
                  </a:lnTo>
                  <a:lnTo>
                    <a:pt x="1375" y="2156"/>
                  </a:lnTo>
                  <a:lnTo>
                    <a:pt x="1382" y="2149"/>
                  </a:lnTo>
                  <a:lnTo>
                    <a:pt x="1389" y="2143"/>
                  </a:lnTo>
                  <a:lnTo>
                    <a:pt x="1396" y="2134"/>
                  </a:lnTo>
                  <a:lnTo>
                    <a:pt x="1400" y="2124"/>
                  </a:lnTo>
                  <a:lnTo>
                    <a:pt x="1405" y="2114"/>
                  </a:lnTo>
                  <a:lnTo>
                    <a:pt x="1408" y="2103"/>
                  </a:lnTo>
                  <a:lnTo>
                    <a:pt x="1411" y="2091"/>
                  </a:lnTo>
                  <a:lnTo>
                    <a:pt x="1413" y="2079"/>
                  </a:lnTo>
                  <a:lnTo>
                    <a:pt x="1414" y="2065"/>
                  </a:lnTo>
                  <a:lnTo>
                    <a:pt x="1414" y="2049"/>
                  </a:lnTo>
                  <a:lnTo>
                    <a:pt x="1414" y="1825"/>
                  </a:lnTo>
                  <a:lnTo>
                    <a:pt x="1362" y="1825"/>
                  </a:lnTo>
                  <a:lnTo>
                    <a:pt x="1362" y="1843"/>
                  </a:lnTo>
                  <a:close/>
                  <a:moveTo>
                    <a:pt x="1362" y="1900"/>
                  </a:moveTo>
                  <a:lnTo>
                    <a:pt x="1362" y="1997"/>
                  </a:lnTo>
                  <a:lnTo>
                    <a:pt x="1362" y="1997"/>
                  </a:lnTo>
                  <a:lnTo>
                    <a:pt x="1356" y="2006"/>
                  </a:lnTo>
                  <a:lnTo>
                    <a:pt x="1348" y="2015"/>
                  </a:lnTo>
                  <a:lnTo>
                    <a:pt x="1344" y="2017"/>
                  </a:lnTo>
                  <a:lnTo>
                    <a:pt x="1338" y="2020"/>
                  </a:lnTo>
                  <a:lnTo>
                    <a:pt x="1332" y="2021"/>
                  </a:lnTo>
                  <a:lnTo>
                    <a:pt x="1326" y="2022"/>
                  </a:lnTo>
                  <a:lnTo>
                    <a:pt x="1326" y="2022"/>
                  </a:lnTo>
                  <a:lnTo>
                    <a:pt x="1319" y="2021"/>
                  </a:lnTo>
                  <a:lnTo>
                    <a:pt x="1312" y="2018"/>
                  </a:lnTo>
                  <a:lnTo>
                    <a:pt x="1305" y="2013"/>
                  </a:lnTo>
                  <a:lnTo>
                    <a:pt x="1300" y="2007"/>
                  </a:lnTo>
                  <a:lnTo>
                    <a:pt x="1295" y="1997"/>
                  </a:lnTo>
                  <a:lnTo>
                    <a:pt x="1291" y="1984"/>
                  </a:lnTo>
                  <a:lnTo>
                    <a:pt x="1287" y="1967"/>
                  </a:lnTo>
                  <a:lnTo>
                    <a:pt x="1286" y="1945"/>
                  </a:lnTo>
                  <a:lnTo>
                    <a:pt x="1286" y="1945"/>
                  </a:lnTo>
                  <a:lnTo>
                    <a:pt x="1287" y="1925"/>
                  </a:lnTo>
                  <a:lnTo>
                    <a:pt x="1291" y="1910"/>
                  </a:lnTo>
                  <a:lnTo>
                    <a:pt x="1295" y="1898"/>
                  </a:lnTo>
                  <a:lnTo>
                    <a:pt x="1300" y="1889"/>
                  </a:lnTo>
                  <a:lnTo>
                    <a:pt x="1305" y="1882"/>
                  </a:lnTo>
                  <a:lnTo>
                    <a:pt x="1312" y="1878"/>
                  </a:lnTo>
                  <a:lnTo>
                    <a:pt x="1319" y="1876"/>
                  </a:lnTo>
                  <a:lnTo>
                    <a:pt x="1326" y="1876"/>
                  </a:lnTo>
                  <a:lnTo>
                    <a:pt x="1326" y="1876"/>
                  </a:lnTo>
                  <a:lnTo>
                    <a:pt x="1332" y="1876"/>
                  </a:lnTo>
                  <a:lnTo>
                    <a:pt x="1338" y="1878"/>
                  </a:lnTo>
                  <a:lnTo>
                    <a:pt x="1345" y="1881"/>
                  </a:lnTo>
                  <a:lnTo>
                    <a:pt x="1349" y="1883"/>
                  </a:lnTo>
                  <a:lnTo>
                    <a:pt x="1353" y="1888"/>
                  </a:lnTo>
                  <a:lnTo>
                    <a:pt x="1357" y="1892"/>
                  </a:lnTo>
                  <a:lnTo>
                    <a:pt x="1362" y="1900"/>
                  </a:lnTo>
                  <a:lnTo>
                    <a:pt x="1362" y="1900"/>
                  </a:lnTo>
                  <a:close/>
                  <a:moveTo>
                    <a:pt x="1576" y="1886"/>
                  </a:moveTo>
                  <a:lnTo>
                    <a:pt x="1576" y="1886"/>
                  </a:lnTo>
                  <a:lnTo>
                    <a:pt x="1588" y="1878"/>
                  </a:lnTo>
                  <a:lnTo>
                    <a:pt x="1601" y="1873"/>
                  </a:lnTo>
                  <a:lnTo>
                    <a:pt x="1614" y="1870"/>
                  </a:lnTo>
                  <a:lnTo>
                    <a:pt x="1629" y="1868"/>
                  </a:lnTo>
                  <a:lnTo>
                    <a:pt x="1629" y="1868"/>
                  </a:lnTo>
                  <a:lnTo>
                    <a:pt x="1638" y="1870"/>
                  </a:lnTo>
                  <a:lnTo>
                    <a:pt x="1645" y="1871"/>
                  </a:lnTo>
                  <a:lnTo>
                    <a:pt x="1652" y="1873"/>
                  </a:lnTo>
                  <a:lnTo>
                    <a:pt x="1657" y="1878"/>
                  </a:lnTo>
                  <a:lnTo>
                    <a:pt x="1661" y="1883"/>
                  </a:lnTo>
                  <a:lnTo>
                    <a:pt x="1664" y="1889"/>
                  </a:lnTo>
                  <a:lnTo>
                    <a:pt x="1666" y="1895"/>
                  </a:lnTo>
                  <a:lnTo>
                    <a:pt x="1666" y="1904"/>
                  </a:lnTo>
                  <a:lnTo>
                    <a:pt x="1666" y="1921"/>
                  </a:lnTo>
                  <a:lnTo>
                    <a:pt x="1666" y="1921"/>
                  </a:lnTo>
                  <a:lnTo>
                    <a:pt x="1657" y="1916"/>
                  </a:lnTo>
                  <a:lnTo>
                    <a:pt x="1645" y="1913"/>
                  </a:lnTo>
                  <a:lnTo>
                    <a:pt x="1634" y="1910"/>
                  </a:lnTo>
                  <a:lnTo>
                    <a:pt x="1621" y="1909"/>
                  </a:lnTo>
                  <a:lnTo>
                    <a:pt x="1621" y="1909"/>
                  </a:lnTo>
                  <a:lnTo>
                    <a:pt x="1607" y="1910"/>
                  </a:lnTo>
                  <a:lnTo>
                    <a:pt x="1592" y="1914"/>
                  </a:lnTo>
                  <a:lnTo>
                    <a:pt x="1579" y="1919"/>
                  </a:lnTo>
                  <a:lnTo>
                    <a:pt x="1572" y="1922"/>
                  </a:lnTo>
                  <a:lnTo>
                    <a:pt x="1565" y="1927"/>
                  </a:lnTo>
                  <a:lnTo>
                    <a:pt x="1560" y="1932"/>
                  </a:lnTo>
                  <a:lnTo>
                    <a:pt x="1555" y="1938"/>
                  </a:lnTo>
                  <a:lnTo>
                    <a:pt x="1550" y="1945"/>
                  </a:lnTo>
                  <a:lnTo>
                    <a:pt x="1546" y="1952"/>
                  </a:lnTo>
                  <a:lnTo>
                    <a:pt x="1542" y="1961"/>
                  </a:lnTo>
                  <a:lnTo>
                    <a:pt x="1540" y="1970"/>
                  </a:lnTo>
                  <a:lnTo>
                    <a:pt x="1539" y="1980"/>
                  </a:lnTo>
                  <a:lnTo>
                    <a:pt x="1538" y="1990"/>
                  </a:lnTo>
                  <a:lnTo>
                    <a:pt x="1538" y="1990"/>
                  </a:lnTo>
                  <a:lnTo>
                    <a:pt x="1539" y="2002"/>
                  </a:lnTo>
                  <a:lnTo>
                    <a:pt x="1540" y="2013"/>
                  </a:lnTo>
                  <a:lnTo>
                    <a:pt x="1542" y="2022"/>
                  </a:lnTo>
                  <a:lnTo>
                    <a:pt x="1546" y="2032"/>
                  </a:lnTo>
                  <a:lnTo>
                    <a:pt x="1549" y="2039"/>
                  </a:lnTo>
                  <a:lnTo>
                    <a:pt x="1554" y="2047"/>
                  </a:lnTo>
                  <a:lnTo>
                    <a:pt x="1558" y="2053"/>
                  </a:lnTo>
                  <a:lnTo>
                    <a:pt x="1564" y="2059"/>
                  </a:lnTo>
                  <a:lnTo>
                    <a:pt x="1569" y="2064"/>
                  </a:lnTo>
                  <a:lnTo>
                    <a:pt x="1576" y="2068"/>
                  </a:lnTo>
                  <a:lnTo>
                    <a:pt x="1589" y="2074"/>
                  </a:lnTo>
                  <a:lnTo>
                    <a:pt x="1603" y="2077"/>
                  </a:lnTo>
                  <a:lnTo>
                    <a:pt x="1616" y="2079"/>
                  </a:lnTo>
                  <a:lnTo>
                    <a:pt x="1616" y="2079"/>
                  </a:lnTo>
                  <a:lnTo>
                    <a:pt x="1628" y="2076"/>
                  </a:lnTo>
                  <a:lnTo>
                    <a:pt x="1635" y="2075"/>
                  </a:lnTo>
                  <a:lnTo>
                    <a:pt x="1641" y="2072"/>
                  </a:lnTo>
                  <a:lnTo>
                    <a:pt x="1649" y="2069"/>
                  </a:lnTo>
                  <a:lnTo>
                    <a:pt x="1655" y="2064"/>
                  </a:lnTo>
                  <a:lnTo>
                    <a:pt x="1661" y="2059"/>
                  </a:lnTo>
                  <a:lnTo>
                    <a:pt x="1666" y="2053"/>
                  </a:lnTo>
                  <a:lnTo>
                    <a:pt x="1666" y="2072"/>
                  </a:lnTo>
                  <a:lnTo>
                    <a:pt x="1718" y="2072"/>
                  </a:lnTo>
                  <a:lnTo>
                    <a:pt x="1718" y="1905"/>
                  </a:lnTo>
                  <a:lnTo>
                    <a:pt x="1718" y="1905"/>
                  </a:lnTo>
                  <a:lnTo>
                    <a:pt x="1718" y="1895"/>
                  </a:lnTo>
                  <a:lnTo>
                    <a:pt x="1717" y="1887"/>
                  </a:lnTo>
                  <a:lnTo>
                    <a:pt x="1715" y="1878"/>
                  </a:lnTo>
                  <a:lnTo>
                    <a:pt x="1713" y="1870"/>
                  </a:lnTo>
                  <a:lnTo>
                    <a:pt x="1709" y="1862"/>
                  </a:lnTo>
                  <a:lnTo>
                    <a:pt x="1706" y="1855"/>
                  </a:lnTo>
                  <a:lnTo>
                    <a:pt x="1701" y="1849"/>
                  </a:lnTo>
                  <a:lnTo>
                    <a:pt x="1695" y="1843"/>
                  </a:lnTo>
                  <a:lnTo>
                    <a:pt x="1690" y="1838"/>
                  </a:lnTo>
                  <a:lnTo>
                    <a:pt x="1684" y="1833"/>
                  </a:lnTo>
                  <a:lnTo>
                    <a:pt x="1677" y="1829"/>
                  </a:lnTo>
                  <a:lnTo>
                    <a:pt x="1669" y="1825"/>
                  </a:lnTo>
                  <a:lnTo>
                    <a:pt x="1661" y="1823"/>
                  </a:lnTo>
                  <a:lnTo>
                    <a:pt x="1653" y="1822"/>
                  </a:lnTo>
                  <a:lnTo>
                    <a:pt x="1643" y="1820"/>
                  </a:lnTo>
                  <a:lnTo>
                    <a:pt x="1634" y="1819"/>
                  </a:lnTo>
                  <a:lnTo>
                    <a:pt x="1634" y="1819"/>
                  </a:lnTo>
                  <a:lnTo>
                    <a:pt x="1623" y="1820"/>
                  </a:lnTo>
                  <a:lnTo>
                    <a:pt x="1613" y="1820"/>
                  </a:lnTo>
                  <a:lnTo>
                    <a:pt x="1603" y="1823"/>
                  </a:lnTo>
                  <a:lnTo>
                    <a:pt x="1592" y="1825"/>
                  </a:lnTo>
                  <a:lnTo>
                    <a:pt x="1583" y="1829"/>
                  </a:lnTo>
                  <a:lnTo>
                    <a:pt x="1574" y="1833"/>
                  </a:lnTo>
                  <a:lnTo>
                    <a:pt x="1564" y="1838"/>
                  </a:lnTo>
                  <a:lnTo>
                    <a:pt x="1555" y="1844"/>
                  </a:lnTo>
                  <a:lnTo>
                    <a:pt x="1576" y="1886"/>
                  </a:lnTo>
                  <a:close/>
                  <a:moveTo>
                    <a:pt x="1590" y="1990"/>
                  </a:moveTo>
                  <a:lnTo>
                    <a:pt x="1590" y="1990"/>
                  </a:lnTo>
                  <a:lnTo>
                    <a:pt x="1590" y="1983"/>
                  </a:lnTo>
                  <a:lnTo>
                    <a:pt x="1592" y="1975"/>
                  </a:lnTo>
                  <a:lnTo>
                    <a:pt x="1595" y="1969"/>
                  </a:lnTo>
                  <a:lnTo>
                    <a:pt x="1600" y="1964"/>
                  </a:lnTo>
                  <a:lnTo>
                    <a:pt x="1605" y="1961"/>
                  </a:lnTo>
                  <a:lnTo>
                    <a:pt x="1611" y="1958"/>
                  </a:lnTo>
                  <a:lnTo>
                    <a:pt x="1618" y="1956"/>
                  </a:lnTo>
                  <a:lnTo>
                    <a:pt x="1626" y="1956"/>
                  </a:lnTo>
                  <a:lnTo>
                    <a:pt x="1626" y="1956"/>
                  </a:lnTo>
                  <a:lnTo>
                    <a:pt x="1637" y="1956"/>
                  </a:lnTo>
                  <a:lnTo>
                    <a:pt x="1647" y="1958"/>
                  </a:lnTo>
                  <a:lnTo>
                    <a:pt x="1657" y="1962"/>
                  </a:lnTo>
                  <a:lnTo>
                    <a:pt x="1666" y="1968"/>
                  </a:lnTo>
                  <a:lnTo>
                    <a:pt x="1666" y="2001"/>
                  </a:lnTo>
                  <a:lnTo>
                    <a:pt x="1666" y="2001"/>
                  </a:lnTo>
                  <a:lnTo>
                    <a:pt x="1664" y="2006"/>
                  </a:lnTo>
                  <a:lnTo>
                    <a:pt x="1660" y="2011"/>
                  </a:lnTo>
                  <a:lnTo>
                    <a:pt x="1656" y="2016"/>
                  </a:lnTo>
                  <a:lnTo>
                    <a:pt x="1651" y="2020"/>
                  </a:lnTo>
                  <a:lnTo>
                    <a:pt x="1645" y="2023"/>
                  </a:lnTo>
                  <a:lnTo>
                    <a:pt x="1639" y="2026"/>
                  </a:lnTo>
                  <a:lnTo>
                    <a:pt x="1633" y="2027"/>
                  </a:lnTo>
                  <a:lnTo>
                    <a:pt x="1626" y="2028"/>
                  </a:lnTo>
                  <a:lnTo>
                    <a:pt x="1626" y="2028"/>
                  </a:lnTo>
                  <a:lnTo>
                    <a:pt x="1618" y="2027"/>
                  </a:lnTo>
                  <a:lnTo>
                    <a:pt x="1611" y="2024"/>
                  </a:lnTo>
                  <a:lnTo>
                    <a:pt x="1605" y="2022"/>
                  </a:lnTo>
                  <a:lnTo>
                    <a:pt x="1600" y="2017"/>
                  </a:lnTo>
                  <a:lnTo>
                    <a:pt x="1595" y="2012"/>
                  </a:lnTo>
                  <a:lnTo>
                    <a:pt x="1592" y="2006"/>
                  </a:lnTo>
                  <a:lnTo>
                    <a:pt x="1591" y="1999"/>
                  </a:lnTo>
                  <a:lnTo>
                    <a:pt x="1590" y="1990"/>
                  </a:lnTo>
                  <a:lnTo>
                    <a:pt x="1590" y="1990"/>
                  </a:lnTo>
                  <a:close/>
                  <a:moveTo>
                    <a:pt x="2200" y="2001"/>
                  </a:moveTo>
                  <a:lnTo>
                    <a:pt x="2200" y="2001"/>
                  </a:lnTo>
                  <a:lnTo>
                    <a:pt x="2193" y="2009"/>
                  </a:lnTo>
                  <a:lnTo>
                    <a:pt x="2183" y="2015"/>
                  </a:lnTo>
                  <a:lnTo>
                    <a:pt x="2178" y="2017"/>
                  </a:lnTo>
                  <a:lnTo>
                    <a:pt x="2172" y="2020"/>
                  </a:lnTo>
                  <a:lnTo>
                    <a:pt x="2166" y="2021"/>
                  </a:lnTo>
                  <a:lnTo>
                    <a:pt x="2160" y="2022"/>
                  </a:lnTo>
                  <a:lnTo>
                    <a:pt x="2160" y="2022"/>
                  </a:lnTo>
                  <a:lnTo>
                    <a:pt x="2154" y="2021"/>
                  </a:lnTo>
                  <a:lnTo>
                    <a:pt x="2148" y="2021"/>
                  </a:lnTo>
                  <a:lnTo>
                    <a:pt x="2141" y="2018"/>
                  </a:lnTo>
                  <a:lnTo>
                    <a:pt x="2132" y="2013"/>
                  </a:lnTo>
                  <a:lnTo>
                    <a:pt x="2125" y="2007"/>
                  </a:lnTo>
                  <a:lnTo>
                    <a:pt x="2122" y="2002"/>
                  </a:lnTo>
                  <a:lnTo>
                    <a:pt x="2119" y="1997"/>
                  </a:lnTo>
                  <a:lnTo>
                    <a:pt x="2117" y="1991"/>
                  </a:lnTo>
                  <a:lnTo>
                    <a:pt x="2115" y="1984"/>
                  </a:lnTo>
                  <a:lnTo>
                    <a:pt x="2114" y="1977"/>
                  </a:lnTo>
                  <a:lnTo>
                    <a:pt x="2113" y="1968"/>
                  </a:lnTo>
                  <a:lnTo>
                    <a:pt x="2241" y="1968"/>
                  </a:lnTo>
                  <a:lnTo>
                    <a:pt x="2241" y="1968"/>
                  </a:lnTo>
                  <a:lnTo>
                    <a:pt x="2242" y="1949"/>
                  </a:lnTo>
                  <a:lnTo>
                    <a:pt x="2242" y="1949"/>
                  </a:lnTo>
                  <a:lnTo>
                    <a:pt x="2242" y="1935"/>
                  </a:lnTo>
                  <a:lnTo>
                    <a:pt x="2240" y="1921"/>
                  </a:lnTo>
                  <a:lnTo>
                    <a:pt x="2239" y="1908"/>
                  </a:lnTo>
                  <a:lnTo>
                    <a:pt x="2236" y="1895"/>
                  </a:lnTo>
                  <a:lnTo>
                    <a:pt x="2232" y="1884"/>
                  </a:lnTo>
                  <a:lnTo>
                    <a:pt x="2228" y="1873"/>
                  </a:lnTo>
                  <a:lnTo>
                    <a:pt x="2223" y="1863"/>
                  </a:lnTo>
                  <a:lnTo>
                    <a:pt x="2218" y="1855"/>
                  </a:lnTo>
                  <a:lnTo>
                    <a:pt x="2212" y="1846"/>
                  </a:lnTo>
                  <a:lnTo>
                    <a:pt x="2205" y="1840"/>
                  </a:lnTo>
                  <a:lnTo>
                    <a:pt x="2198" y="1834"/>
                  </a:lnTo>
                  <a:lnTo>
                    <a:pt x="2190" y="1829"/>
                  </a:lnTo>
                  <a:lnTo>
                    <a:pt x="2181" y="1825"/>
                  </a:lnTo>
                  <a:lnTo>
                    <a:pt x="2173" y="1822"/>
                  </a:lnTo>
                  <a:lnTo>
                    <a:pt x="2164" y="1820"/>
                  </a:lnTo>
                  <a:lnTo>
                    <a:pt x="2153" y="1819"/>
                  </a:lnTo>
                  <a:lnTo>
                    <a:pt x="2153" y="1819"/>
                  </a:lnTo>
                  <a:lnTo>
                    <a:pt x="2144" y="1820"/>
                  </a:lnTo>
                  <a:lnTo>
                    <a:pt x="2135" y="1822"/>
                  </a:lnTo>
                  <a:lnTo>
                    <a:pt x="2125" y="1825"/>
                  </a:lnTo>
                  <a:lnTo>
                    <a:pt x="2116" y="1829"/>
                  </a:lnTo>
                  <a:lnTo>
                    <a:pt x="2108" y="1834"/>
                  </a:lnTo>
                  <a:lnTo>
                    <a:pt x="2100" y="1841"/>
                  </a:lnTo>
                  <a:lnTo>
                    <a:pt x="2093" y="1847"/>
                  </a:lnTo>
                  <a:lnTo>
                    <a:pt x="2087" y="1856"/>
                  </a:lnTo>
                  <a:lnTo>
                    <a:pt x="2080" y="1865"/>
                  </a:lnTo>
                  <a:lnTo>
                    <a:pt x="2075" y="1875"/>
                  </a:lnTo>
                  <a:lnTo>
                    <a:pt x="2071" y="1886"/>
                  </a:lnTo>
                  <a:lnTo>
                    <a:pt x="2067" y="1897"/>
                  </a:lnTo>
                  <a:lnTo>
                    <a:pt x="2064" y="1909"/>
                  </a:lnTo>
                  <a:lnTo>
                    <a:pt x="2062" y="1922"/>
                  </a:lnTo>
                  <a:lnTo>
                    <a:pt x="2061" y="1935"/>
                  </a:lnTo>
                  <a:lnTo>
                    <a:pt x="2060" y="1949"/>
                  </a:lnTo>
                  <a:lnTo>
                    <a:pt x="2060" y="1949"/>
                  </a:lnTo>
                  <a:lnTo>
                    <a:pt x="2061" y="1963"/>
                  </a:lnTo>
                  <a:lnTo>
                    <a:pt x="2062" y="1977"/>
                  </a:lnTo>
                  <a:lnTo>
                    <a:pt x="2064" y="1990"/>
                  </a:lnTo>
                  <a:lnTo>
                    <a:pt x="2067" y="2002"/>
                  </a:lnTo>
                  <a:lnTo>
                    <a:pt x="2071" y="2013"/>
                  </a:lnTo>
                  <a:lnTo>
                    <a:pt x="2075" y="2024"/>
                  </a:lnTo>
                  <a:lnTo>
                    <a:pt x="2080" y="2034"/>
                  </a:lnTo>
                  <a:lnTo>
                    <a:pt x="2087" y="2043"/>
                  </a:lnTo>
                  <a:lnTo>
                    <a:pt x="2094" y="2050"/>
                  </a:lnTo>
                  <a:lnTo>
                    <a:pt x="2101" y="2058"/>
                  </a:lnTo>
                  <a:lnTo>
                    <a:pt x="2110" y="2064"/>
                  </a:lnTo>
                  <a:lnTo>
                    <a:pt x="2118" y="2069"/>
                  </a:lnTo>
                  <a:lnTo>
                    <a:pt x="2127" y="2072"/>
                  </a:lnTo>
                  <a:lnTo>
                    <a:pt x="2138" y="2076"/>
                  </a:lnTo>
                  <a:lnTo>
                    <a:pt x="2148" y="2077"/>
                  </a:lnTo>
                  <a:lnTo>
                    <a:pt x="2160" y="2079"/>
                  </a:lnTo>
                  <a:lnTo>
                    <a:pt x="2160" y="2079"/>
                  </a:lnTo>
                  <a:lnTo>
                    <a:pt x="2170" y="2077"/>
                  </a:lnTo>
                  <a:lnTo>
                    <a:pt x="2179" y="2076"/>
                  </a:lnTo>
                  <a:lnTo>
                    <a:pt x="2190" y="2072"/>
                  </a:lnTo>
                  <a:lnTo>
                    <a:pt x="2199" y="2069"/>
                  </a:lnTo>
                  <a:lnTo>
                    <a:pt x="2208" y="2063"/>
                  </a:lnTo>
                  <a:lnTo>
                    <a:pt x="2217" y="2056"/>
                  </a:lnTo>
                  <a:lnTo>
                    <a:pt x="2225" y="2048"/>
                  </a:lnTo>
                  <a:lnTo>
                    <a:pt x="2233" y="2039"/>
                  </a:lnTo>
                  <a:lnTo>
                    <a:pt x="2200" y="2001"/>
                  </a:lnTo>
                  <a:close/>
                  <a:moveTo>
                    <a:pt x="2114" y="1922"/>
                  </a:moveTo>
                  <a:lnTo>
                    <a:pt x="2114" y="1922"/>
                  </a:lnTo>
                  <a:lnTo>
                    <a:pt x="2115" y="1911"/>
                  </a:lnTo>
                  <a:lnTo>
                    <a:pt x="2117" y="1902"/>
                  </a:lnTo>
                  <a:lnTo>
                    <a:pt x="2120" y="1893"/>
                  </a:lnTo>
                  <a:lnTo>
                    <a:pt x="2125" y="1886"/>
                  </a:lnTo>
                  <a:lnTo>
                    <a:pt x="2130" y="1879"/>
                  </a:lnTo>
                  <a:lnTo>
                    <a:pt x="2137" y="1876"/>
                  </a:lnTo>
                  <a:lnTo>
                    <a:pt x="2144" y="1872"/>
                  </a:lnTo>
                  <a:lnTo>
                    <a:pt x="2152" y="1872"/>
                  </a:lnTo>
                  <a:lnTo>
                    <a:pt x="2152" y="1872"/>
                  </a:lnTo>
                  <a:lnTo>
                    <a:pt x="2162" y="1873"/>
                  </a:lnTo>
                  <a:lnTo>
                    <a:pt x="2170" y="1876"/>
                  </a:lnTo>
                  <a:lnTo>
                    <a:pt x="2176" y="1881"/>
                  </a:lnTo>
                  <a:lnTo>
                    <a:pt x="2181" y="1888"/>
                  </a:lnTo>
                  <a:lnTo>
                    <a:pt x="2186" y="1895"/>
                  </a:lnTo>
                  <a:lnTo>
                    <a:pt x="2189" y="1904"/>
                  </a:lnTo>
                  <a:lnTo>
                    <a:pt x="2191" y="1914"/>
                  </a:lnTo>
                  <a:lnTo>
                    <a:pt x="2192" y="1922"/>
                  </a:lnTo>
                  <a:lnTo>
                    <a:pt x="2114" y="1922"/>
                  </a:lnTo>
                  <a:close/>
                  <a:moveTo>
                    <a:pt x="2701" y="2001"/>
                  </a:moveTo>
                  <a:lnTo>
                    <a:pt x="2701" y="2001"/>
                  </a:lnTo>
                  <a:lnTo>
                    <a:pt x="2692" y="2009"/>
                  </a:lnTo>
                  <a:lnTo>
                    <a:pt x="2684" y="2015"/>
                  </a:lnTo>
                  <a:lnTo>
                    <a:pt x="2678" y="2017"/>
                  </a:lnTo>
                  <a:lnTo>
                    <a:pt x="2673" y="2020"/>
                  </a:lnTo>
                  <a:lnTo>
                    <a:pt x="2666" y="2021"/>
                  </a:lnTo>
                  <a:lnTo>
                    <a:pt x="2659" y="2022"/>
                  </a:lnTo>
                  <a:lnTo>
                    <a:pt x="2659" y="2022"/>
                  </a:lnTo>
                  <a:lnTo>
                    <a:pt x="2654" y="2021"/>
                  </a:lnTo>
                  <a:lnTo>
                    <a:pt x="2648" y="2021"/>
                  </a:lnTo>
                  <a:lnTo>
                    <a:pt x="2640" y="2018"/>
                  </a:lnTo>
                  <a:lnTo>
                    <a:pt x="2633" y="2013"/>
                  </a:lnTo>
                  <a:lnTo>
                    <a:pt x="2626" y="2007"/>
                  </a:lnTo>
                  <a:lnTo>
                    <a:pt x="2623" y="2002"/>
                  </a:lnTo>
                  <a:lnTo>
                    <a:pt x="2620" y="1997"/>
                  </a:lnTo>
                  <a:lnTo>
                    <a:pt x="2617" y="1991"/>
                  </a:lnTo>
                  <a:lnTo>
                    <a:pt x="2615" y="1984"/>
                  </a:lnTo>
                  <a:lnTo>
                    <a:pt x="2613" y="1977"/>
                  </a:lnTo>
                  <a:lnTo>
                    <a:pt x="2612" y="1968"/>
                  </a:lnTo>
                  <a:lnTo>
                    <a:pt x="2741" y="1968"/>
                  </a:lnTo>
                  <a:lnTo>
                    <a:pt x="2741" y="1968"/>
                  </a:lnTo>
                  <a:lnTo>
                    <a:pt x="2742" y="1949"/>
                  </a:lnTo>
                  <a:lnTo>
                    <a:pt x="2742" y="1949"/>
                  </a:lnTo>
                  <a:lnTo>
                    <a:pt x="2741" y="1935"/>
                  </a:lnTo>
                  <a:lnTo>
                    <a:pt x="2740" y="1921"/>
                  </a:lnTo>
                  <a:lnTo>
                    <a:pt x="2738" y="1908"/>
                  </a:lnTo>
                  <a:lnTo>
                    <a:pt x="2736" y="1895"/>
                  </a:lnTo>
                  <a:lnTo>
                    <a:pt x="2732" y="1884"/>
                  </a:lnTo>
                  <a:lnTo>
                    <a:pt x="2728" y="1873"/>
                  </a:lnTo>
                  <a:lnTo>
                    <a:pt x="2724" y="1863"/>
                  </a:lnTo>
                  <a:lnTo>
                    <a:pt x="2718" y="1855"/>
                  </a:lnTo>
                  <a:lnTo>
                    <a:pt x="2712" y="1846"/>
                  </a:lnTo>
                  <a:lnTo>
                    <a:pt x="2705" y="1840"/>
                  </a:lnTo>
                  <a:lnTo>
                    <a:pt x="2698" y="1834"/>
                  </a:lnTo>
                  <a:lnTo>
                    <a:pt x="2690" y="1829"/>
                  </a:lnTo>
                  <a:lnTo>
                    <a:pt x="2682" y="1825"/>
                  </a:lnTo>
                  <a:lnTo>
                    <a:pt x="2673" y="1822"/>
                  </a:lnTo>
                  <a:lnTo>
                    <a:pt x="2663" y="1820"/>
                  </a:lnTo>
                  <a:lnTo>
                    <a:pt x="2654" y="1819"/>
                  </a:lnTo>
                  <a:lnTo>
                    <a:pt x="2654" y="1819"/>
                  </a:lnTo>
                  <a:lnTo>
                    <a:pt x="2643" y="1820"/>
                  </a:lnTo>
                  <a:lnTo>
                    <a:pt x="2634" y="1822"/>
                  </a:lnTo>
                  <a:lnTo>
                    <a:pt x="2625" y="1825"/>
                  </a:lnTo>
                  <a:lnTo>
                    <a:pt x="2616" y="1829"/>
                  </a:lnTo>
                  <a:lnTo>
                    <a:pt x="2608" y="1834"/>
                  </a:lnTo>
                  <a:lnTo>
                    <a:pt x="2600" y="1841"/>
                  </a:lnTo>
                  <a:lnTo>
                    <a:pt x="2594" y="1847"/>
                  </a:lnTo>
                  <a:lnTo>
                    <a:pt x="2586" y="1856"/>
                  </a:lnTo>
                  <a:lnTo>
                    <a:pt x="2580" y="1865"/>
                  </a:lnTo>
                  <a:lnTo>
                    <a:pt x="2575" y="1875"/>
                  </a:lnTo>
                  <a:lnTo>
                    <a:pt x="2571" y="1886"/>
                  </a:lnTo>
                  <a:lnTo>
                    <a:pt x="2566" y="1897"/>
                  </a:lnTo>
                  <a:lnTo>
                    <a:pt x="2564" y="1909"/>
                  </a:lnTo>
                  <a:lnTo>
                    <a:pt x="2561" y="1922"/>
                  </a:lnTo>
                  <a:lnTo>
                    <a:pt x="2560" y="1935"/>
                  </a:lnTo>
                  <a:lnTo>
                    <a:pt x="2560" y="1949"/>
                  </a:lnTo>
                  <a:lnTo>
                    <a:pt x="2560" y="1949"/>
                  </a:lnTo>
                  <a:lnTo>
                    <a:pt x="2560" y="1963"/>
                  </a:lnTo>
                  <a:lnTo>
                    <a:pt x="2561" y="1977"/>
                  </a:lnTo>
                  <a:lnTo>
                    <a:pt x="2563" y="1990"/>
                  </a:lnTo>
                  <a:lnTo>
                    <a:pt x="2566" y="2002"/>
                  </a:lnTo>
                  <a:lnTo>
                    <a:pt x="2571" y="2013"/>
                  </a:lnTo>
                  <a:lnTo>
                    <a:pt x="2576" y="2024"/>
                  </a:lnTo>
                  <a:lnTo>
                    <a:pt x="2581" y="2034"/>
                  </a:lnTo>
                  <a:lnTo>
                    <a:pt x="2587" y="2043"/>
                  </a:lnTo>
                  <a:lnTo>
                    <a:pt x="2594" y="2050"/>
                  </a:lnTo>
                  <a:lnTo>
                    <a:pt x="2601" y="2058"/>
                  </a:lnTo>
                  <a:lnTo>
                    <a:pt x="2609" y="2064"/>
                  </a:lnTo>
                  <a:lnTo>
                    <a:pt x="2619" y="2069"/>
                  </a:lnTo>
                  <a:lnTo>
                    <a:pt x="2628" y="2072"/>
                  </a:lnTo>
                  <a:lnTo>
                    <a:pt x="2637" y="2076"/>
                  </a:lnTo>
                  <a:lnTo>
                    <a:pt x="2649" y="2077"/>
                  </a:lnTo>
                  <a:lnTo>
                    <a:pt x="2659" y="2079"/>
                  </a:lnTo>
                  <a:lnTo>
                    <a:pt x="2659" y="2079"/>
                  </a:lnTo>
                  <a:lnTo>
                    <a:pt x="2670" y="2077"/>
                  </a:lnTo>
                  <a:lnTo>
                    <a:pt x="2680" y="2076"/>
                  </a:lnTo>
                  <a:lnTo>
                    <a:pt x="2689" y="2072"/>
                  </a:lnTo>
                  <a:lnTo>
                    <a:pt x="2699" y="2069"/>
                  </a:lnTo>
                  <a:lnTo>
                    <a:pt x="2708" y="2063"/>
                  </a:lnTo>
                  <a:lnTo>
                    <a:pt x="2717" y="2056"/>
                  </a:lnTo>
                  <a:lnTo>
                    <a:pt x="2726" y="2048"/>
                  </a:lnTo>
                  <a:lnTo>
                    <a:pt x="2733" y="2039"/>
                  </a:lnTo>
                  <a:lnTo>
                    <a:pt x="2701" y="2001"/>
                  </a:lnTo>
                  <a:close/>
                  <a:moveTo>
                    <a:pt x="2613" y="1922"/>
                  </a:moveTo>
                  <a:lnTo>
                    <a:pt x="2613" y="1922"/>
                  </a:lnTo>
                  <a:lnTo>
                    <a:pt x="2614" y="1911"/>
                  </a:lnTo>
                  <a:lnTo>
                    <a:pt x="2617" y="1902"/>
                  </a:lnTo>
                  <a:lnTo>
                    <a:pt x="2621" y="1893"/>
                  </a:lnTo>
                  <a:lnTo>
                    <a:pt x="2625" y="1886"/>
                  </a:lnTo>
                  <a:lnTo>
                    <a:pt x="2631" y="1879"/>
                  </a:lnTo>
                  <a:lnTo>
                    <a:pt x="2637" y="1876"/>
                  </a:lnTo>
                  <a:lnTo>
                    <a:pt x="2645" y="1872"/>
                  </a:lnTo>
                  <a:lnTo>
                    <a:pt x="2653" y="1872"/>
                  </a:lnTo>
                  <a:lnTo>
                    <a:pt x="2653" y="1872"/>
                  </a:lnTo>
                  <a:lnTo>
                    <a:pt x="2662" y="1873"/>
                  </a:lnTo>
                  <a:lnTo>
                    <a:pt x="2670" y="1876"/>
                  </a:lnTo>
                  <a:lnTo>
                    <a:pt x="2677" y="1881"/>
                  </a:lnTo>
                  <a:lnTo>
                    <a:pt x="2682" y="1888"/>
                  </a:lnTo>
                  <a:lnTo>
                    <a:pt x="2686" y="1895"/>
                  </a:lnTo>
                  <a:lnTo>
                    <a:pt x="2689" y="1904"/>
                  </a:lnTo>
                  <a:lnTo>
                    <a:pt x="2691" y="1914"/>
                  </a:lnTo>
                  <a:lnTo>
                    <a:pt x="2692" y="1922"/>
                  </a:lnTo>
                  <a:lnTo>
                    <a:pt x="2613" y="1922"/>
                  </a:lnTo>
                  <a:close/>
                  <a:moveTo>
                    <a:pt x="2488" y="1986"/>
                  </a:moveTo>
                  <a:lnTo>
                    <a:pt x="2488" y="1986"/>
                  </a:lnTo>
                  <a:lnTo>
                    <a:pt x="2488" y="1995"/>
                  </a:lnTo>
                  <a:lnTo>
                    <a:pt x="2489" y="2001"/>
                  </a:lnTo>
                  <a:lnTo>
                    <a:pt x="2492" y="2007"/>
                  </a:lnTo>
                  <a:lnTo>
                    <a:pt x="2494" y="2012"/>
                  </a:lnTo>
                  <a:lnTo>
                    <a:pt x="2497" y="2016"/>
                  </a:lnTo>
                  <a:lnTo>
                    <a:pt x="2501" y="2018"/>
                  </a:lnTo>
                  <a:lnTo>
                    <a:pt x="2505" y="2020"/>
                  </a:lnTo>
                  <a:lnTo>
                    <a:pt x="2511" y="2020"/>
                  </a:lnTo>
                  <a:lnTo>
                    <a:pt x="2511" y="2020"/>
                  </a:lnTo>
                  <a:lnTo>
                    <a:pt x="2519" y="2020"/>
                  </a:lnTo>
                  <a:lnTo>
                    <a:pt x="2527" y="2017"/>
                  </a:lnTo>
                  <a:lnTo>
                    <a:pt x="2535" y="2013"/>
                  </a:lnTo>
                  <a:lnTo>
                    <a:pt x="2543" y="2009"/>
                  </a:lnTo>
                  <a:lnTo>
                    <a:pt x="2536" y="2066"/>
                  </a:lnTo>
                  <a:lnTo>
                    <a:pt x="2536" y="2066"/>
                  </a:lnTo>
                  <a:lnTo>
                    <a:pt x="2527" y="2071"/>
                  </a:lnTo>
                  <a:lnTo>
                    <a:pt x="2515" y="2075"/>
                  </a:lnTo>
                  <a:lnTo>
                    <a:pt x="2504" y="2077"/>
                  </a:lnTo>
                  <a:lnTo>
                    <a:pt x="2493" y="2079"/>
                  </a:lnTo>
                  <a:lnTo>
                    <a:pt x="2493" y="2079"/>
                  </a:lnTo>
                  <a:lnTo>
                    <a:pt x="2485" y="2077"/>
                  </a:lnTo>
                  <a:lnTo>
                    <a:pt x="2478" y="2076"/>
                  </a:lnTo>
                  <a:lnTo>
                    <a:pt x="2472" y="2074"/>
                  </a:lnTo>
                  <a:lnTo>
                    <a:pt x="2467" y="2071"/>
                  </a:lnTo>
                  <a:lnTo>
                    <a:pt x="2461" y="2068"/>
                  </a:lnTo>
                  <a:lnTo>
                    <a:pt x="2456" y="2064"/>
                  </a:lnTo>
                  <a:lnTo>
                    <a:pt x="2453" y="2059"/>
                  </a:lnTo>
                  <a:lnTo>
                    <a:pt x="2449" y="2053"/>
                  </a:lnTo>
                  <a:lnTo>
                    <a:pt x="2444" y="2042"/>
                  </a:lnTo>
                  <a:lnTo>
                    <a:pt x="2440" y="2028"/>
                  </a:lnTo>
                  <a:lnTo>
                    <a:pt x="2437" y="2016"/>
                  </a:lnTo>
                  <a:lnTo>
                    <a:pt x="2436" y="2002"/>
                  </a:lnTo>
                  <a:lnTo>
                    <a:pt x="2436" y="1882"/>
                  </a:lnTo>
                  <a:lnTo>
                    <a:pt x="2404" y="1882"/>
                  </a:lnTo>
                  <a:lnTo>
                    <a:pt x="2404" y="1825"/>
                  </a:lnTo>
                  <a:lnTo>
                    <a:pt x="2436" y="1825"/>
                  </a:lnTo>
                  <a:lnTo>
                    <a:pt x="2436" y="1761"/>
                  </a:lnTo>
                  <a:lnTo>
                    <a:pt x="2488" y="1731"/>
                  </a:lnTo>
                  <a:lnTo>
                    <a:pt x="2488" y="1825"/>
                  </a:lnTo>
                  <a:lnTo>
                    <a:pt x="2535" y="1825"/>
                  </a:lnTo>
                  <a:lnTo>
                    <a:pt x="2535" y="1882"/>
                  </a:lnTo>
                  <a:lnTo>
                    <a:pt x="2488" y="1882"/>
                  </a:lnTo>
                  <a:lnTo>
                    <a:pt x="2488" y="1986"/>
                  </a:lnTo>
                  <a:close/>
                  <a:moveTo>
                    <a:pt x="2387" y="2066"/>
                  </a:moveTo>
                  <a:lnTo>
                    <a:pt x="2387" y="2066"/>
                  </a:lnTo>
                  <a:lnTo>
                    <a:pt x="2378" y="2071"/>
                  </a:lnTo>
                  <a:lnTo>
                    <a:pt x="2368" y="2075"/>
                  </a:lnTo>
                  <a:lnTo>
                    <a:pt x="2356" y="2077"/>
                  </a:lnTo>
                  <a:lnTo>
                    <a:pt x="2345" y="2079"/>
                  </a:lnTo>
                  <a:lnTo>
                    <a:pt x="2345" y="2079"/>
                  </a:lnTo>
                  <a:lnTo>
                    <a:pt x="2336" y="2077"/>
                  </a:lnTo>
                  <a:lnTo>
                    <a:pt x="2330" y="2076"/>
                  </a:lnTo>
                  <a:lnTo>
                    <a:pt x="2324" y="2074"/>
                  </a:lnTo>
                  <a:lnTo>
                    <a:pt x="2318" y="2071"/>
                  </a:lnTo>
                  <a:lnTo>
                    <a:pt x="2314" y="2068"/>
                  </a:lnTo>
                  <a:lnTo>
                    <a:pt x="2308" y="2064"/>
                  </a:lnTo>
                  <a:lnTo>
                    <a:pt x="2304" y="2059"/>
                  </a:lnTo>
                  <a:lnTo>
                    <a:pt x="2301" y="2053"/>
                  </a:lnTo>
                  <a:lnTo>
                    <a:pt x="2295" y="2042"/>
                  </a:lnTo>
                  <a:lnTo>
                    <a:pt x="2292" y="2028"/>
                  </a:lnTo>
                  <a:lnTo>
                    <a:pt x="2289" y="2016"/>
                  </a:lnTo>
                  <a:lnTo>
                    <a:pt x="2289" y="2002"/>
                  </a:lnTo>
                  <a:lnTo>
                    <a:pt x="2289" y="1882"/>
                  </a:lnTo>
                  <a:lnTo>
                    <a:pt x="2256" y="1882"/>
                  </a:lnTo>
                  <a:lnTo>
                    <a:pt x="2256" y="1825"/>
                  </a:lnTo>
                  <a:lnTo>
                    <a:pt x="2289" y="1825"/>
                  </a:lnTo>
                  <a:lnTo>
                    <a:pt x="2289" y="1761"/>
                  </a:lnTo>
                  <a:lnTo>
                    <a:pt x="2341" y="1731"/>
                  </a:lnTo>
                  <a:lnTo>
                    <a:pt x="2341" y="1825"/>
                  </a:lnTo>
                  <a:lnTo>
                    <a:pt x="2384" y="1825"/>
                  </a:lnTo>
                  <a:lnTo>
                    <a:pt x="2384" y="1882"/>
                  </a:lnTo>
                  <a:lnTo>
                    <a:pt x="2341" y="1882"/>
                  </a:lnTo>
                  <a:lnTo>
                    <a:pt x="2341" y="1986"/>
                  </a:lnTo>
                  <a:lnTo>
                    <a:pt x="2341" y="1986"/>
                  </a:lnTo>
                  <a:lnTo>
                    <a:pt x="2341" y="1995"/>
                  </a:lnTo>
                  <a:lnTo>
                    <a:pt x="2342" y="2001"/>
                  </a:lnTo>
                  <a:lnTo>
                    <a:pt x="2344" y="2007"/>
                  </a:lnTo>
                  <a:lnTo>
                    <a:pt x="2346" y="2012"/>
                  </a:lnTo>
                  <a:lnTo>
                    <a:pt x="2349" y="2016"/>
                  </a:lnTo>
                  <a:lnTo>
                    <a:pt x="2353" y="2018"/>
                  </a:lnTo>
                  <a:lnTo>
                    <a:pt x="2357" y="2020"/>
                  </a:lnTo>
                  <a:lnTo>
                    <a:pt x="2362" y="2020"/>
                  </a:lnTo>
                  <a:lnTo>
                    <a:pt x="2362" y="2020"/>
                  </a:lnTo>
                  <a:lnTo>
                    <a:pt x="2371" y="2020"/>
                  </a:lnTo>
                  <a:lnTo>
                    <a:pt x="2379" y="2017"/>
                  </a:lnTo>
                  <a:lnTo>
                    <a:pt x="2386" y="2013"/>
                  </a:lnTo>
                  <a:lnTo>
                    <a:pt x="2394" y="2009"/>
                  </a:lnTo>
                  <a:lnTo>
                    <a:pt x="2387" y="2066"/>
                  </a:lnTo>
                  <a:close/>
                  <a:moveTo>
                    <a:pt x="2898" y="1894"/>
                  </a:moveTo>
                  <a:lnTo>
                    <a:pt x="2898" y="1894"/>
                  </a:lnTo>
                  <a:lnTo>
                    <a:pt x="2891" y="1888"/>
                  </a:lnTo>
                  <a:lnTo>
                    <a:pt x="2883" y="1884"/>
                  </a:lnTo>
                  <a:lnTo>
                    <a:pt x="2873" y="1882"/>
                  </a:lnTo>
                  <a:lnTo>
                    <a:pt x="2864" y="1881"/>
                  </a:lnTo>
                  <a:lnTo>
                    <a:pt x="2864" y="1881"/>
                  </a:lnTo>
                  <a:lnTo>
                    <a:pt x="2856" y="1882"/>
                  </a:lnTo>
                  <a:lnTo>
                    <a:pt x="2847" y="1884"/>
                  </a:lnTo>
                  <a:lnTo>
                    <a:pt x="2841" y="1889"/>
                  </a:lnTo>
                  <a:lnTo>
                    <a:pt x="2836" y="1895"/>
                  </a:lnTo>
                  <a:lnTo>
                    <a:pt x="2832" y="1903"/>
                  </a:lnTo>
                  <a:lnTo>
                    <a:pt x="2830" y="1913"/>
                  </a:lnTo>
                  <a:lnTo>
                    <a:pt x="2828" y="1925"/>
                  </a:lnTo>
                  <a:lnTo>
                    <a:pt x="2827" y="1938"/>
                  </a:lnTo>
                  <a:lnTo>
                    <a:pt x="2827" y="2072"/>
                  </a:lnTo>
                  <a:lnTo>
                    <a:pt x="2776" y="2072"/>
                  </a:lnTo>
                  <a:lnTo>
                    <a:pt x="2776" y="1825"/>
                  </a:lnTo>
                  <a:lnTo>
                    <a:pt x="2827" y="1825"/>
                  </a:lnTo>
                  <a:lnTo>
                    <a:pt x="2827" y="1846"/>
                  </a:lnTo>
                  <a:lnTo>
                    <a:pt x="2827" y="1846"/>
                  </a:lnTo>
                  <a:lnTo>
                    <a:pt x="2832" y="1840"/>
                  </a:lnTo>
                  <a:lnTo>
                    <a:pt x="2837" y="1834"/>
                  </a:lnTo>
                  <a:lnTo>
                    <a:pt x="2842" y="1830"/>
                  </a:lnTo>
                  <a:lnTo>
                    <a:pt x="2849" y="1827"/>
                  </a:lnTo>
                  <a:lnTo>
                    <a:pt x="2854" y="1823"/>
                  </a:lnTo>
                  <a:lnTo>
                    <a:pt x="2860" y="1822"/>
                  </a:lnTo>
                  <a:lnTo>
                    <a:pt x="2866" y="1820"/>
                  </a:lnTo>
                  <a:lnTo>
                    <a:pt x="2873" y="1819"/>
                  </a:lnTo>
                  <a:lnTo>
                    <a:pt x="2873" y="1819"/>
                  </a:lnTo>
                  <a:lnTo>
                    <a:pt x="2884" y="1820"/>
                  </a:lnTo>
                  <a:lnTo>
                    <a:pt x="2894" y="1824"/>
                  </a:lnTo>
                  <a:lnTo>
                    <a:pt x="2904" y="1828"/>
                  </a:lnTo>
                  <a:lnTo>
                    <a:pt x="2912" y="1834"/>
                  </a:lnTo>
                  <a:lnTo>
                    <a:pt x="2898" y="1894"/>
                  </a:lnTo>
                  <a:close/>
                  <a:moveTo>
                    <a:pt x="559" y="1766"/>
                  </a:moveTo>
                  <a:lnTo>
                    <a:pt x="559" y="1790"/>
                  </a:lnTo>
                  <a:lnTo>
                    <a:pt x="507" y="1790"/>
                  </a:lnTo>
                  <a:lnTo>
                    <a:pt x="507" y="1728"/>
                  </a:lnTo>
                  <a:lnTo>
                    <a:pt x="559" y="1728"/>
                  </a:lnTo>
                  <a:lnTo>
                    <a:pt x="559" y="1766"/>
                  </a:lnTo>
                  <a:close/>
                  <a:moveTo>
                    <a:pt x="919" y="1825"/>
                  </a:moveTo>
                  <a:lnTo>
                    <a:pt x="971" y="1825"/>
                  </a:lnTo>
                  <a:lnTo>
                    <a:pt x="971" y="1952"/>
                  </a:lnTo>
                  <a:lnTo>
                    <a:pt x="971" y="2072"/>
                  </a:lnTo>
                  <a:lnTo>
                    <a:pt x="919" y="2072"/>
                  </a:lnTo>
                  <a:lnTo>
                    <a:pt x="919" y="1825"/>
                  </a:lnTo>
                  <a:close/>
                  <a:moveTo>
                    <a:pt x="971" y="1759"/>
                  </a:moveTo>
                  <a:lnTo>
                    <a:pt x="971" y="1790"/>
                  </a:lnTo>
                  <a:lnTo>
                    <a:pt x="919" y="1790"/>
                  </a:lnTo>
                  <a:lnTo>
                    <a:pt x="919" y="1728"/>
                  </a:lnTo>
                  <a:lnTo>
                    <a:pt x="971" y="1728"/>
                  </a:lnTo>
                  <a:lnTo>
                    <a:pt x="971" y="1759"/>
                  </a:lnTo>
                  <a:close/>
                  <a:moveTo>
                    <a:pt x="2395" y="2275"/>
                  </a:moveTo>
                  <a:lnTo>
                    <a:pt x="2395" y="2275"/>
                  </a:lnTo>
                  <a:lnTo>
                    <a:pt x="2390" y="2270"/>
                  </a:lnTo>
                  <a:lnTo>
                    <a:pt x="2384" y="2265"/>
                  </a:lnTo>
                  <a:lnTo>
                    <a:pt x="2379" y="2262"/>
                  </a:lnTo>
                  <a:lnTo>
                    <a:pt x="2373" y="2258"/>
                  </a:lnTo>
                  <a:lnTo>
                    <a:pt x="2368" y="2256"/>
                  </a:lnTo>
                  <a:lnTo>
                    <a:pt x="2361" y="2254"/>
                  </a:lnTo>
                  <a:lnTo>
                    <a:pt x="2348" y="2252"/>
                  </a:lnTo>
                  <a:lnTo>
                    <a:pt x="2348" y="2252"/>
                  </a:lnTo>
                  <a:lnTo>
                    <a:pt x="2339" y="2253"/>
                  </a:lnTo>
                  <a:lnTo>
                    <a:pt x="2330" y="2254"/>
                  </a:lnTo>
                  <a:lnTo>
                    <a:pt x="2322" y="2258"/>
                  </a:lnTo>
                  <a:lnTo>
                    <a:pt x="2314" y="2262"/>
                  </a:lnTo>
                  <a:lnTo>
                    <a:pt x="2306" y="2267"/>
                  </a:lnTo>
                  <a:lnTo>
                    <a:pt x="2300" y="2272"/>
                  </a:lnTo>
                  <a:lnTo>
                    <a:pt x="2294" y="2279"/>
                  </a:lnTo>
                  <a:lnTo>
                    <a:pt x="2288" y="2286"/>
                  </a:lnTo>
                  <a:lnTo>
                    <a:pt x="2283" y="2295"/>
                  </a:lnTo>
                  <a:lnTo>
                    <a:pt x="2278" y="2305"/>
                  </a:lnTo>
                  <a:lnTo>
                    <a:pt x="2275" y="2315"/>
                  </a:lnTo>
                  <a:lnTo>
                    <a:pt x="2272" y="2327"/>
                  </a:lnTo>
                  <a:lnTo>
                    <a:pt x="2269" y="2338"/>
                  </a:lnTo>
                  <a:lnTo>
                    <a:pt x="2268" y="2352"/>
                  </a:lnTo>
                  <a:lnTo>
                    <a:pt x="2267" y="2365"/>
                  </a:lnTo>
                  <a:lnTo>
                    <a:pt x="2266" y="2380"/>
                  </a:lnTo>
                  <a:lnTo>
                    <a:pt x="2266" y="2380"/>
                  </a:lnTo>
                  <a:lnTo>
                    <a:pt x="2267" y="2395"/>
                  </a:lnTo>
                  <a:lnTo>
                    <a:pt x="2268" y="2408"/>
                  </a:lnTo>
                  <a:lnTo>
                    <a:pt x="2269" y="2422"/>
                  </a:lnTo>
                  <a:lnTo>
                    <a:pt x="2272" y="2435"/>
                  </a:lnTo>
                  <a:lnTo>
                    <a:pt x="2274" y="2446"/>
                  </a:lnTo>
                  <a:lnTo>
                    <a:pt x="2278" y="2457"/>
                  </a:lnTo>
                  <a:lnTo>
                    <a:pt x="2282" y="2467"/>
                  </a:lnTo>
                  <a:lnTo>
                    <a:pt x="2288" y="2476"/>
                  </a:lnTo>
                  <a:lnTo>
                    <a:pt x="2293" y="2484"/>
                  </a:lnTo>
                  <a:lnTo>
                    <a:pt x="2299" y="2490"/>
                  </a:lnTo>
                  <a:lnTo>
                    <a:pt x="2305" y="2497"/>
                  </a:lnTo>
                  <a:lnTo>
                    <a:pt x="2313" y="2502"/>
                  </a:lnTo>
                  <a:lnTo>
                    <a:pt x="2321" y="2506"/>
                  </a:lnTo>
                  <a:lnTo>
                    <a:pt x="2329" y="2509"/>
                  </a:lnTo>
                  <a:lnTo>
                    <a:pt x="2338" y="2510"/>
                  </a:lnTo>
                  <a:lnTo>
                    <a:pt x="2347" y="2511"/>
                  </a:lnTo>
                  <a:lnTo>
                    <a:pt x="2347" y="2511"/>
                  </a:lnTo>
                  <a:lnTo>
                    <a:pt x="2353" y="2510"/>
                  </a:lnTo>
                  <a:lnTo>
                    <a:pt x="2360" y="2509"/>
                  </a:lnTo>
                  <a:lnTo>
                    <a:pt x="2367" y="2508"/>
                  </a:lnTo>
                  <a:lnTo>
                    <a:pt x="2372" y="2505"/>
                  </a:lnTo>
                  <a:lnTo>
                    <a:pt x="2378" y="2502"/>
                  </a:lnTo>
                  <a:lnTo>
                    <a:pt x="2384" y="2498"/>
                  </a:lnTo>
                  <a:lnTo>
                    <a:pt x="2390" y="2493"/>
                  </a:lnTo>
                  <a:lnTo>
                    <a:pt x="2395" y="2487"/>
                  </a:lnTo>
                  <a:lnTo>
                    <a:pt x="2395" y="2505"/>
                  </a:lnTo>
                  <a:lnTo>
                    <a:pt x="2447" y="2505"/>
                  </a:lnTo>
                  <a:lnTo>
                    <a:pt x="2447" y="2155"/>
                  </a:lnTo>
                  <a:lnTo>
                    <a:pt x="2395" y="2186"/>
                  </a:lnTo>
                  <a:lnTo>
                    <a:pt x="2395" y="2275"/>
                  </a:lnTo>
                  <a:close/>
                  <a:moveTo>
                    <a:pt x="2358" y="2455"/>
                  </a:moveTo>
                  <a:lnTo>
                    <a:pt x="2358" y="2455"/>
                  </a:lnTo>
                  <a:lnTo>
                    <a:pt x="2351" y="2454"/>
                  </a:lnTo>
                  <a:lnTo>
                    <a:pt x="2345" y="2451"/>
                  </a:lnTo>
                  <a:lnTo>
                    <a:pt x="2338" y="2447"/>
                  </a:lnTo>
                  <a:lnTo>
                    <a:pt x="2331" y="2440"/>
                  </a:lnTo>
                  <a:lnTo>
                    <a:pt x="2326" y="2430"/>
                  </a:lnTo>
                  <a:lnTo>
                    <a:pt x="2322" y="2417"/>
                  </a:lnTo>
                  <a:lnTo>
                    <a:pt x="2320" y="2399"/>
                  </a:lnTo>
                  <a:lnTo>
                    <a:pt x="2319" y="2377"/>
                  </a:lnTo>
                  <a:lnTo>
                    <a:pt x="2319" y="2377"/>
                  </a:lnTo>
                  <a:lnTo>
                    <a:pt x="2320" y="2359"/>
                  </a:lnTo>
                  <a:lnTo>
                    <a:pt x="2322" y="2343"/>
                  </a:lnTo>
                  <a:lnTo>
                    <a:pt x="2326" y="2331"/>
                  </a:lnTo>
                  <a:lnTo>
                    <a:pt x="2331" y="2322"/>
                  </a:lnTo>
                  <a:lnTo>
                    <a:pt x="2338" y="2316"/>
                  </a:lnTo>
                  <a:lnTo>
                    <a:pt x="2344" y="2311"/>
                  </a:lnTo>
                  <a:lnTo>
                    <a:pt x="2351" y="2310"/>
                  </a:lnTo>
                  <a:lnTo>
                    <a:pt x="2357" y="2308"/>
                  </a:lnTo>
                  <a:lnTo>
                    <a:pt x="2357" y="2308"/>
                  </a:lnTo>
                  <a:lnTo>
                    <a:pt x="2365" y="2310"/>
                  </a:lnTo>
                  <a:lnTo>
                    <a:pt x="2371" y="2311"/>
                  </a:lnTo>
                  <a:lnTo>
                    <a:pt x="2376" y="2313"/>
                  </a:lnTo>
                  <a:lnTo>
                    <a:pt x="2381" y="2317"/>
                  </a:lnTo>
                  <a:lnTo>
                    <a:pt x="2385" y="2321"/>
                  </a:lnTo>
                  <a:lnTo>
                    <a:pt x="2390" y="2324"/>
                  </a:lnTo>
                  <a:lnTo>
                    <a:pt x="2395" y="2333"/>
                  </a:lnTo>
                  <a:lnTo>
                    <a:pt x="2395" y="2430"/>
                  </a:lnTo>
                  <a:lnTo>
                    <a:pt x="2395" y="2430"/>
                  </a:lnTo>
                  <a:lnTo>
                    <a:pt x="2389" y="2439"/>
                  </a:lnTo>
                  <a:lnTo>
                    <a:pt x="2381" y="2446"/>
                  </a:lnTo>
                  <a:lnTo>
                    <a:pt x="2376" y="2450"/>
                  </a:lnTo>
                  <a:lnTo>
                    <a:pt x="2371" y="2452"/>
                  </a:lnTo>
                  <a:lnTo>
                    <a:pt x="2365" y="2454"/>
                  </a:lnTo>
                  <a:lnTo>
                    <a:pt x="2358" y="2455"/>
                  </a:lnTo>
                  <a:lnTo>
                    <a:pt x="2358" y="2455"/>
                  </a:lnTo>
                  <a:close/>
                  <a:moveTo>
                    <a:pt x="634" y="2327"/>
                  </a:moveTo>
                  <a:lnTo>
                    <a:pt x="634" y="2327"/>
                  </a:lnTo>
                  <a:lnTo>
                    <a:pt x="627" y="2322"/>
                  </a:lnTo>
                  <a:lnTo>
                    <a:pt x="618" y="2317"/>
                  </a:lnTo>
                  <a:lnTo>
                    <a:pt x="609" y="2315"/>
                  </a:lnTo>
                  <a:lnTo>
                    <a:pt x="599" y="2313"/>
                  </a:lnTo>
                  <a:lnTo>
                    <a:pt x="599" y="2313"/>
                  </a:lnTo>
                  <a:lnTo>
                    <a:pt x="591" y="2315"/>
                  </a:lnTo>
                  <a:lnTo>
                    <a:pt x="583" y="2317"/>
                  </a:lnTo>
                  <a:lnTo>
                    <a:pt x="577" y="2322"/>
                  </a:lnTo>
                  <a:lnTo>
                    <a:pt x="571" y="2328"/>
                  </a:lnTo>
                  <a:lnTo>
                    <a:pt x="567" y="2336"/>
                  </a:lnTo>
                  <a:lnTo>
                    <a:pt x="565" y="2345"/>
                  </a:lnTo>
                  <a:lnTo>
                    <a:pt x="563" y="2358"/>
                  </a:lnTo>
                  <a:lnTo>
                    <a:pt x="562" y="2371"/>
                  </a:lnTo>
                  <a:lnTo>
                    <a:pt x="562" y="2505"/>
                  </a:lnTo>
                  <a:lnTo>
                    <a:pt x="511" y="2505"/>
                  </a:lnTo>
                  <a:lnTo>
                    <a:pt x="511" y="2258"/>
                  </a:lnTo>
                  <a:lnTo>
                    <a:pt x="562" y="2258"/>
                  </a:lnTo>
                  <a:lnTo>
                    <a:pt x="562" y="2279"/>
                  </a:lnTo>
                  <a:lnTo>
                    <a:pt x="562" y="2279"/>
                  </a:lnTo>
                  <a:lnTo>
                    <a:pt x="567" y="2273"/>
                  </a:lnTo>
                  <a:lnTo>
                    <a:pt x="572" y="2267"/>
                  </a:lnTo>
                  <a:lnTo>
                    <a:pt x="578" y="2263"/>
                  </a:lnTo>
                  <a:lnTo>
                    <a:pt x="584" y="2259"/>
                  </a:lnTo>
                  <a:lnTo>
                    <a:pt x="589" y="2256"/>
                  </a:lnTo>
                  <a:lnTo>
                    <a:pt x="595" y="2254"/>
                  </a:lnTo>
                  <a:lnTo>
                    <a:pt x="603" y="2253"/>
                  </a:lnTo>
                  <a:lnTo>
                    <a:pt x="609" y="2252"/>
                  </a:lnTo>
                  <a:lnTo>
                    <a:pt x="609" y="2252"/>
                  </a:lnTo>
                  <a:lnTo>
                    <a:pt x="619" y="2253"/>
                  </a:lnTo>
                  <a:lnTo>
                    <a:pt x="630" y="2257"/>
                  </a:lnTo>
                  <a:lnTo>
                    <a:pt x="640" y="2262"/>
                  </a:lnTo>
                  <a:lnTo>
                    <a:pt x="648" y="2268"/>
                  </a:lnTo>
                  <a:lnTo>
                    <a:pt x="634" y="2327"/>
                  </a:lnTo>
                  <a:close/>
                  <a:moveTo>
                    <a:pt x="227" y="2258"/>
                  </a:moveTo>
                  <a:lnTo>
                    <a:pt x="278" y="2258"/>
                  </a:lnTo>
                  <a:lnTo>
                    <a:pt x="219" y="2505"/>
                  </a:lnTo>
                  <a:lnTo>
                    <a:pt x="174" y="2505"/>
                  </a:lnTo>
                  <a:lnTo>
                    <a:pt x="151" y="2403"/>
                  </a:lnTo>
                  <a:lnTo>
                    <a:pt x="151" y="2403"/>
                  </a:lnTo>
                  <a:lnTo>
                    <a:pt x="139" y="2349"/>
                  </a:lnTo>
                  <a:lnTo>
                    <a:pt x="139" y="2349"/>
                  </a:lnTo>
                  <a:lnTo>
                    <a:pt x="134" y="2375"/>
                  </a:lnTo>
                  <a:lnTo>
                    <a:pt x="128" y="2404"/>
                  </a:lnTo>
                  <a:lnTo>
                    <a:pt x="104" y="2505"/>
                  </a:lnTo>
                  <a:lnTo>
                    <a:pt x="59" y="2505"/>
                  </a:lnTo>
                  <a:lnTo>
                    <a:pt x="59" y="2504"/>
                  </a:lnTo>
                  <a:lnTo>
                    <a:pt x="0" y="2258"/>
                  </a:lnTo>
                  <a:lnTo>
                    <a:pt x="54" y="2258"/>
                  </a:lnTo>
                  <a:lnTo>
                    <a:pt x="73" y="2350"/>
                  </a:lnTo>
                  <a:lnTo>
                    <a:pt x="73" y="2350"/>
                  </a:lnTo>
                  <a:lnTo>
                    <a:pt x="78" y="2380"/>
                  </a:lnTo>
                  <a:lnTo>
                    <a:pt x="83" y="2411"/>
                  </a:lnTo>
                  <a:lnTo>
                    <a:pt x="83" y="2411"/>
                  </a:lnTo>
                  <a:lnTo>
                    <a:pt x="90" y="2380"/>
                  </a:lnTo>
                  <a:lnTo>
                    <a:pt x="96" y="2349"/>
                  </a:lnTo>
                  <a:lnTo>
                    <a:pt x="118" y="2258"/>
                  </a:lnTo>
                  <a:lnTo>
                    <a:pt x="162" y="2258"/>
                  </a:lnTo>
                  <a:lnTo>
                    <a:pt x="184" y="2349"/>
                  </a:lnTo>
                  <a:lnTo>
                    <a:pt x="184" y="2349"/>
                  </a:lnTo>
                  <a:lnTo>
                    <a:pt x="190" y="2379"/>
                  </a:lnTo>
                  <a:lnTo>
                    <a:pt x="197" y="2412"/>
                  </a:lnTo>
                  <a:lnTo>
                    <a:pt x="197" y="2412"/>
                  </a:lnTo>
                  <a:lnTo>
                    <a:pt x="201" y="2383"/>
                  </a:lnTo>
                  <a:lnTo>
                    <a:pt x="207" y="2349"/>
                  </a:lnTo>
                  <a:lnTo>
                    <a:pt x="227" y="2258"/>
                  </a:lnTo>
                  <a:close/>
                  <a:moveTo>
                    <a:pt x="383" y="2252"/>
                  </a:moveTo>
                  <a:lnTo>
                    <a:pt x="383" y="2252"/>
                  </a:lnTo>
                  <a:lnTo>
                    <a:pt x="374" y="2253"/>
                  </a:lnTo>
                  <a:lnTo>
                    <a:pt x="363" y="2254"/>
                  </a:lnTo>
                  <a:lnTo>
                    <a:pt x="354" y="2258"/>
                  </a:lnTo>
                  <a:lnTo>
                    <a:pt x="346" y="2262"/>
                  </a:lnTo>
                  <a:lnTo>
                    <a:pt x="337" y="2267"/>
                  </a:lnTo>
                  <a:lnTo>
                    <a:pt x="329" y="2273"/>
                  </a:lnTo>
                  <a:lnTo>
                    <a:pt x="322" y="2280"/>
                  </a:lnTo>
                  <a:lnTo>
                    <a:pt x="315" y="2289"/>
                  </a:lnTo>
                  <a:lnTo>
                    <a:pt x="309" y="2297"/>
                  </a:lnTo>
                  <a:lnTo>
                    <a:pt x="304" y="2307"/>
                  </a:lnTo>
                  <a:lnTo>
                    <a:pt x="299" y="2318"/>
                  </a:lnTo>
                  <a:lnTo>
                    <a:pt x="296" y="2329"/>
                  </a:lnTo>
                  <a:lnTo>
                    <a:pt x="292" y="2342"/>
                  </a:lnTo>
                  <a:lnTo>
                    <a:pt x="290" y="2354"/>
                  </a:lnTo>
                  <a:lnTo>
                    <a:pt x="288" y="2367"/>
                  </a:lnTo>
                  <a:lnTo>
                    <a:pt x="288" y="2382"/>
                  </a:lnTo>
                  <a:lnTo>
                    <a:pt x="288" y="2382"/>
                  </a:lnTo>
                  <a:lnTo>
                    <a:pt x="288" y="2396"/>
                  </a:lnTo>
                  <a:lnTo>
                    <a:pt x="290" y="2409"/>
                  </a:lnTo>
                  <a:lnTo>
                    <a:pt x="292" y="2422"/>
                  </a:lnTo>
                  <a:lnTo>
                    <a:pt x="296" y="2434"/>
                  </a:lnTo>
                  <a:lnTo>
                    <a:pt x="299" y="2445"/>
                  </a:lnTo>
                  <a:lnTo>
                    <a:pt x="304" y="2456"/>
                  </a:lnTo>
                  <a:lnTo>
                    <a:pt x="309" y="2466"/>
                  </a:lnTo>
                  <a:lnTo>
                    <a:pt x="315" y="2474"/>
                  </a:lnTo>
                  <a:lnTo>
                    <a:pt x="322" y="2483"/>
                  </a:lnTo>
                  <a:lnTo>
                    <a:pt x="329" y="2490"/>
                  </a:lnTo>
                  <a:lnTo>
                    <a:pt x="337" y="2497"/>
                  </a:lnTo>
                  <a:lnTo>
                    <a:pt x="346" y="2502"/>
                  </a:lnTo>
                  <a:lnTo>
                    <a:pt x="354" y="2505"/>
                  </a:lnTo>
                  <a:lnTo>
                    <a:pt x="363" y="2509"/>
                  </a:lnTo>
                  <a:lnTo>
                    <a:pt x="374" y="2510"/>
                  </a:lnTo>
                  <a:lnTo>
                    <a:pt x="383" y="2511"/>
                  </a:lnTo>
                  <a:lnTo>
                    <a:pt x="383" y="2511"/>
                  </a:lnTo>
                  <a:lnTo>
                    <a:pt x="393" y="2510"/>
                  </a:lnTo>
                  <a:lnTo>
                    <a:pt x="404" y="2509"/>
                  </a:lnTo>
                  <a:lnTo>
                    <a:pt x="413" y="2505"/>
                  </a:lnTo>
                  <a:lnTo>
                    <a:pt x="422" y="2502"/>
                  </a:lnTo>
                  <a:lnTo>
                    <a:pt x="430" y="2497"/>
                  </a:lnTo>
                  <a:lnTo>
                    <a:pt x="438" y="2490"/>
                  </a:lnTo>
                  <a:lnTo>
                    <a:pt x="445" y="2483"/>
                  </a:lnTo>
                  <a:lnTo>
                    <a:pt x="452" y="2474"/>
                  </a:lnTo>
                  <a:lnTo>
                    <a:pt x="458" y="2466"/>
                  </a:lnTo>
                  <a:lnTo>
                    <a:pt x="463" y="2456"/>
                  </a:lnTo>
                  <a:lnTo>
                    <a:pt x="467" y="2445"/>
                  </a:lnTo>
                  <a:lnTo>
                    <a:pt x="471" y="2434"/>
                  </a:lnTo>
                  <a:lnTo>
                    <a:pt x="475" y="2422"/>
                  </a:lnTo>
                  <a:lnTo>
                    <a:pt x="477" y="2409"/>
                  </a:lnTo>
                  <a:lnTo>
                    <a:pt x="479" y="2396"/>
                  </a:lnTo>
                  <a:lnTo>
                    <a:pt x="479" y="2382"/>
                  </a:lnTo>
                  <a:lnTo>
                    <a:pt x="479" y="2382"/>
                  </a:lnTo>
                  <a:lnTo>
                    <a:pt x="479" y="2367"/>
                  </a:lnTo>
                  <a:lnTo>
                    <a:pt x="477" y="2354"/>
                  </a:lnTo>
                  <a:lnTo>
                    <a:pt x="475" y="2342"/>
                  </a:lnTo>
                  <a:lnTo>
                    <a:pt x="471" y="2329"/>
                  </a:lnTo>
                  <a:lnTo>
                    <a:pt x="467" y="2318"/>
                  </a:lnTo>
                  <a:lnTo>
                    <a:pt x="463" y="2307"/>
                  </a:lnTo>
                  <a:lnTo>
                    <a:pt x="458" y="2297"/>
                  </a:lnTo>
                  <a:lnTo>
                    <a:pt x="452" y="2289"/>
                  </a:lnTo>
                  <a:lnTo>
                    <a:pt x="445" y="2280"/>
                  </a:lnTo>
                  <a:lnTo>
                    <a:pt x="438" y="2273"/>
                  </a:lnTo>
                  <a:lnTo>
                    <a:pt x="430" y="2267"/>
                  </a:lnTo>
                  <a:lnTo>
                    <a:pt x="422" y="2262"/>
                  </a:lnTo>
                  <a:lnTo>
                    <a:pt x="413" y="2258"/>
                  </a:lnTo>
                  <a:lnTo>
                    <a:pt x="404" y="2254"/>
                  </a:lnTo>
                  <a:lnTo>
                    <a:pt x="393" y="2253"/>
                  </a:lnTo>
                  <a:lnTo>
                    <a:pt x="383" y="2252"/>
                  </a:lnTo>
                  <a:lnTo>
                    <a:pt x="383" y="2252"/>
                  </a:lnTo>
                  <a:close/>
                  <a:moveTo>
                    <a:pt x="383" y="2454"/>
                  </a:moveTo>
                  <a:lnTo>
                    <a:pt x="383" y="2454"/>
                  </a:lnTo>
                  <a:lnTo>
                    <a:pt x="374" y="2452"/>
                  </a:lnTo>
                  <a:lnTo>
                    <a:pt x="365" y="2449"/>
                  </a:lnTo>
                  <a:lnTo>
                    <a:pt x="359" y="2442"/>
                  </a:lnTo>
                  <a:lnTo>
                    <a:pt x="353" y="2434"/>
                  </a:lnTo>
                  <a:lnTo>
                    <a:pt x="348" y="2424"/>
                  </a:lnTo>
                  <a:lnTo>
                    <a:pt x="343" y="2412"/>
                  </a:lnTo>
                  <a:lnTo>
                    <a:pt x="341" y="2397"/>
                  </a:lnTo>
                  <a:lnTo>
                    <a:pt x="341" y="2382"/>
                  </a:lnTo>
                  <a:lnTo>
                    <a:pt x="341" y="2382"/>
                  </a:lnTo>
                  <a:lnTo>
                    <a:pt x="341" y="2366"/>
                  </a:lnTo>
                  <a:lnTo>
                    <a:pt x="343" y="2352"/>
                  </a:lnTo>
                  <a:lnTo>
                    <a:pt x="348" y="2340"/>
                  </a:lnTo>
                  <a:lnTo>
                    <a:pt x="353" y="2329"/>
                  </a:lnTo>
                  <a:lnTo>
                    <a:pt x="359" y="2321"/>
                  </a:lnTo>
                  <a:lnTo>
                    <a:pt x="365" y="2315"/>
                  </a:lnTo>
                  <a:lnTo>
                    <a:pt x="374" y="2311"/>
                  </a:lnTo>
                  <a:lnTo>
                    <a:pt x="383" y="2310"/>
                  </a:lnTo>
                  <a:lnTo>
                    <a:pt x="383" y="2310"/>
                  </a:lnTo>
                  <a:lnTo>
                    <a:pt x="392" y="2311"/>
                  </a:lnTo>
                  <a:lnTo>
                    <a:pt x="401" y="2315"/>
                  </a:lnTo>
                  <a:lnTo>
                    <a:pt x="408" y="2321"/>
                  </a:lnTo>
                  <a:lnTo>
                    <a:pt x="414" y="2329"/>
                  </a:lnTo>
                  <a:lnTo>
                    <a:pt x="419" y="2340"/>
                  </a:lnTo>
                  <a:lnTo>
                    <a:pt x="423" y="2352"/>
                  </a:lnTo>
                  <a:lnTo>
                    <a:pt x="425" y="2366"/>
                  </a:lnTo>
                  <a:lnTo>
                    <a:pt x="426" y="2382"/>
                  </a:lnTo>
                  <a:lnTo>
                    <a:pt x="426" y="2382"/>
                  </a:lnTo>
                  <a:lnTo>
                    <a:pt x="425" y="2397"/>
                  </a:lnTo>
                  <a:lnTo>
                    <a:pt x="423" y="2412"/>
                  </a:lnTo>
                  <a:lnTo>
                    <a:pt x="419" y="2424"/>
                  </a:lnTo>
                  <a:lnTo>
                    <a:pt x="414" y="2434"/>
                  </a:lnTo>
                  <a:lnTo>
                    <a:pt x="408" y="2442"/>
                  </a:lnTo>
                  <a:lnTo>
                    <a:pt x="401" y="2449"/>
                  </a:lnTo>
                  <a:lnTo>
                    <a:pt x="392" y="2452"/>
                  </a:lnTo>
                  <a:lnTo>
                    <a:pt x="383" y="2454"/>
                  </a:lnTo>
                  <a:lnTo>
                    <a:pt x="383" y="2454"/>
                  </a:lnTo>
                  <a:close/>
                  <a:moveTo>
                    <a:pt x="2140" y="2327"/>
                  </a:moveTo>
                  <a:lnTo>
                    <a:pt x="2140" y="2327"/>
                  </a:lnTo>
                  <a:lnTo>
                    <a:pt x="2131" y="2322"/>
                  </a:lnTo>
                  <a:lnTo>
                    <a:pt x="2123" y="2317"/>
                  </a:lnTo>
                  <a:lnTo>
                    <a:pt x="2114" y="2315"/>
                  </a:lnTo>
                  <a:lnTo>
                    <a:pt x="2105" y="2313"/>
                  </a:lnTo>
                  <a:lnTo>
                    <a:pt x="2105" y="2313"/>
                  </a:lnTo>
                  <a:lnTo>
                    <a:pt x="2096" y="2315"/>
                  </a:lnTo>
                  <a:lnTo>
                    <a:pt x="2089" y="2317"/>
                  </a:lnTo>
                  <a:lnTo>
                    <a:pt x="2083" y="2322"/>
                  </a:lnTo>
                  <a:lnTo>
                    <a:pt x="2077" y="2328"/>
                  </a:lnTo>
                  <a:lnTo>
                    <a:pt x="2073" y="2336"/>
                  </a:lnTo>
                  <a:lnTo>
                    <a:pt x="2070" y="2345"/>
                  </a:lnTo>
                  <a:lnTo>
                    <a:pt x="2068" y="2358"/>
                  </a:lnTo>
                  <a:lnTo>
                    <a:pt x="2068" y="2371"/>
                  </a:lnTo>
                  <a:lnTo>
                    <a:pt x="2068" y="2505"/>
                  </a:lnTo>
                  <a:lnTo>
                    <a:pt x="2016" y="2505"/>
                  </a:lnTo>
                  <a:lnTo>
                    <a:pt x="2016" y="2258"/>
                  </a:lnTo>
                  <a:lnTo>
                    <a:pt x="2068" y="2258"/>
                  </a:lnTo>
                  <a:lnTo>
                    <a:pt x="2068" y="2279"/>
                  </a:lnTo>
                  <a:lnTo>
                    <a:pt x="2068" y="2279"/>
                  </a:lnTo>
                  <a:lnTo>
                    <a:pt x="2072" y="2273"/>
                  </a:lnTo>
                  <a:lnTo>
                    <a:pt x="2077" y="2267"/>
                  </a:lnTo>
                  <a:lnTo>
                    <a:pt x="2083" y="2263"/>
                  </a:lnTo>
                  <a:lnTo>
                    <a:pt x="2089" y="2259"/>
                  </a:lnTo>
                  <a:lnTo>
                    <a:pt x="2095" y="2256"/>
                  </a:lnTo>
                  <a:lnTo>
                    <a:pt x="2101" y="2254"/>
                  </a:lnTo>
                  <a:lnTo>
                    <a:pt x="2108" y="2253"/>
                  </a:lnTo>
                  <a:lnTo>
                    <a:pt x="2114" y="2252"/>
                  </a:lnTo>
                  <a:lnTo>
                    <a:pt x="2114" y="2252"/>
                  </a:lnTo>
                  <a:lnTo>
                    <a:pt x="2124" y="2253"/>
                  </a:lnTo>
                  <a:lnTo>
                    <a:pt x="2135" y="2257"/>
                  </a:lnTo>
                  <a:lnTo>
                    <a:pt x="2145" y="2262"/>
                  </a:lnTo>
                  <a:lnTo>
                    <a:pt x="2153" y="2268"/>
                  </a:lnTo>
                  <a:lnTo>
                    <a:pt x="2140" y="2327"/>
                  </a:lnTo>
                  <a:close/>
                  <a:moveTo>
                    <a:pt x="1732" y="2258"/>
                  </a:moveTo>
                  <a:lnTo>
                    <a:pt x="1783" y="2258"/>
                  </a:lnTo>
                  <a:lnTo>
                    <a:pt x="1723" y="2505"/>
                  </a:lnTo>
                  <a:lnTo>
                    <a:pt x="1679" y="2505"/>
                  </a:lnTo>
                  <a:lnTo>
                    <a:pt x="1656" y="2403"/>
                  </a:lnTo>
                  <a:lnTo>
                    <a:pt x="1656" y="2403"/>
                  </a:lnTo>
                  <a:lnTo>
                    <a:pt x="1644" y="2349"/>
                  </a:lnTo>
                  <a:lnTo>
                    <a:pt x="1644" y="2349"/>
                  </a:lnTo>
                  <a:lnTo>
                    <a:pt x="1639" y="2375"/>
                  </a:lnTo>
                  <a:lnTo>
                    <a:pt x="1633" y="2404"/>
                  </a:lnTo>
                  <a:lnTo>
                    <a:pt x="1610" y="2505"/>
                  </a:lnTo>
                  <a:lnTo>
                    <a:pt x="1565" y="2505"/>
                  </a:lnTo>
                  <a:lnTo>
                    <a:pt x="1564" y="2504"/>
                  </a:lnTo>
                  <a:lnTo>
                    <a:pt x="1506" y="2258"/>
                  </a:lnTo>
                  <a:lnTo>
                    <a:pt x="1559" y="2258"/>
                  </a:lnTo>
                  <a:lnTo>
                    <a:pt x="1579" y="2350"/>
                  </a:lnTo>
                  <a:lnTo>
                    <a:pt x="1579" y="2350"/>
                  </a:lnTo>
                  <a:lnTo>
                    <a:pt x="1584" y="2380"/>
                  </a:lnTo>
                  <a:lnTo>
                    <a:pt x="1589" y="2411"/>
                  </a:lnTo>
                  <a:lnTo>
                    <a:pt x="1589" y="2411"/>
                  </a:lnTo>
                  <a:lnTo>
                    <a:pt x="1594" y="2380"/>
                  </a:lnTo>
                  <a:lnTo>
                    <a:pt x="1602" y="2349"/>
                  </a:lnTo>
                  <a:lnTo>
                    <a:pt x="1624" y="2258"/>
                  </a:lnTo>
                  <a:lnTo>
                    <a:pt x="1667" y="2258"/>
                  </a:lnTo>
                  <a:lnTo>
                    <a:pt x="1689" y="2349"/>
                  </a:lnTo>
                  <a:lnTo>
                    <a:pt x="1689" y="2349"/>
                  </a:lnTo>
                  <a:lnTo>
                    <a:pt x="1695" y="2379"/>
                  </a:lnTo>
                  <a:lnTo>
                    <a:pt x="1702" y="2412"/>
                  </a:lnTo>
                  <a:lnTo>
                    <a:pt x="1702" y="2412"/>
                  </a:lnTo>
                  <a:lnTo>
                    <a:pt x="1707" y="2383"/>
                  </a:lnTo>
                  <a:lnTo>
                    <a:pt x="1713" y="2349"/>
                  </a:lnTo>
                  <a:lnTo>
                    <a:pt x="1732" y="2258"/>
                  </a:lnTo>
                  <a:close/>
                  <a:moveTo>
                    <a:pt x="1888" y="2252"/>
                  </a:moveTo>
                  <a:lnTo>
                    <a:pt x="1888" y="2252"/>
                  </a:lnTo>
                  <a:lnTo>
                    <a:pt x="1879" y="2253"/>
                  </a:lnTo>
                  <a:lnTo>
                    <a:pt x="1868" y="2254"/>
                  </a:lnTo>
                  <a:lnTo>
                    <a:pt x="1859" y="2258"/>
                  </a:lnTo>
                  <a:lnTo>
                    <a:pt x="1850" y="2262"/>
                  </a:lnTo>
                  <a:lnTo>
                    <a:pt x="1842" y="2267"/>
                  </a:lnTo>
                  <a:lnTo>
                    <a:pt x="1834" y="2274"/>
                  </a:lnTo>
                  <a:lnTo>
                    <a:pt x="1827" y="2280"/>
                  </a:lnTo>
                  <a:lnTo>
                    <a:pt x="1820" y="2289"/>
                  </a:lnTo>
                  <a:lnTo>
                    <a:pt x="1814" y="2297"/>
                  </a:lnTo>
                  <a:lnTo>
                    <a:pt x="1809" y="2307"/>
                  </a:lnTo>
                  <a:lnTo>
                    <a:pt x="1804" y="2318"/>
                  </a:lnTo>
                  <a:lnTo>
                    <a:pt x="1800" y="2329"/>
                  </a:lnTo>
                  <a:lnTo>
                    <a:pt x="1797" y="2342"/>
                  </a:lnTo>
                  <a:lnTo>
                    <a:pt x="1794" y="2355"/>
                  </a:lnTo>
                  <a:lnTo>
                    <a:pt x="1793" y="2367"/>
                  </a:lnTo>
                  <a:lnTo>
                    <a:pt x="1793" y="2382"/>
                  </a:lnTo>
                  <a:lnTo>
                    <a:pt x="1793" y="2382"/>
                  </a:lnTo>
                  <a:lnTo>
                    <a:pt x="1793" y="2396"/>
                  </a:lnTo>
                  <a:lnTo>
                    <a:pt x="1794" y="2409"/>
                  </a:lnTo>
                  <a:lnTo>
                    <a:pt x="1797" y="2422"/>
                  </a:lnTo>
                  <a:lnTo>
                    <a:pt x="1800" y="2434"/>
                  </a:lnTo>
                  <a:lnTo>
                    <a:pt x="1804" y="2445"/>
                  </a:lnTo>
                  <a:lnTo>
                    <a:pt x="1809" y="2456"/>
                  </a:lnTo>
                  <a:lnTo>
                    <a:pt x="1814" y="2466"/>
                  </a:lnTo>
                  <a:lnTo>
                    <a:pt x="1820" y="2474"/>
                  </a:lnTo>
                  <a:lnTo>
                    <a:pt x="1827" y="2483"/>
                  </a:lnTo>
                  <a:lnTo>
                    <a:pt x="1834" y="2490"/>
                  </a:lnTo>
                  <a:lnTo>
                    <a:pt x="1842" y="2497"/>
                  </a:lnTo>
                  <a:lnTo>
                    <a:pt x="1850" y="2502"/>
                  </a:lnTo>
                  <a:lnTo>
                    <a:pt x="1859" y="2505"/>
                  </a:lnTo>
                  <a:lnTo>
                    <a:pt x="1868" y="2509"/>
                  </a:lnTo>
                  <a:lnTo>
                    <a:pt x="1879" y="2510"/>
                  </a:lnTo>
                  <a:lnTo>
                    <a:pt x="1888" y="2511"/>
                  </a:lnTo>
                  <a:lnTo>
                    <a:pt x="1888" y="2511"/>
                  </a:lnTo>
                  <a:lnTo>
                    <a:pt x="1898" y="2510"/>
                  </a:lnTo>
                  <a:lnTo>
                    <a:pt x="1909" y="2509"/>
                  </a:lnTo>
                  <a:lnTo>
                    <a:pt x="1918" y="2505"/>
                  </a:lnTo>
                  <a:lnTo>
                    <a:pt x="1926" y="2502"/>
                  </a:lnTo>
                  <a:lnTo>
                    <a:pt x="1935" y="2497"/>
                  </a:lnTo>
                  <a:lnTo>
                    <a:pt x="1943" y="2490"/>
                  </a:lnTo>
                  <a:lnTo>
                    <a:pt x="1950" y="2483"/>
                  </a:lnTo>
                  <a:lnTo>
                    <a:pt x="1957" y="2474"/>
                  </a:lnTo>
                  <a:lnTo>
                    <a:pt x="1963" y="2466"/>
                  </a:lnTo>
                  <a:lnTo>
                    <a:pt x="1968" y="2456"/>
                  </a:lnTo>
                  <a:lnTo>
                    <a:pt x="1972" y="2445"/>
                  </a:lnTo>
                  <a:lnTo>
                    <a:pt x="1976" y="2434"/>
                  </a:lnTo>
                  <a:lnTo>
                    <a:pt x="1979" y="2422"/>
                  </a:lnTo>
                  <a:lnTo>
                    <a:pt x="1982" y="2409"/>
                  </a:lnTo>
                  <a:lnTo>
                    <a:pt x="1984" y="2396"/>
                  </a:lnTo>
                  <a:lnTo>
                    <a:pt x="1984" y="2382"/>
                  </a:lnTo>
                  <a:lnTo>
                    <a:pt x="1984" y="2382"/>
                  </a:lnTo>
                  <a:lnTo>
                    <a:pt x="1984" y="2367"/>
                  </a:lnTo>
                  <a:lnTo>
                    <a:pt x="1982" y="2355"/>
                  </a:lnTo>
                  <a:lnTo>
                    <a:pt x="1979" y="2342"/>
                  </a:lnTo>
                  <a:lnTo>
                    <a:pt x="1976" y="2329"/>
                  </a:lnTo>
                  <a:lnTo>
                    <a:pt x="1972" y="2318"/>
                  </a:lnTo>
                  <a:lnTo>
                    <a:pt x="1968" y="2307"/>
                  </a:lnTo>
                  <a:lnTo>
                    <a:pt x="1963" y="2297"/>
                  </a:lnTo>
                  <a:lnTo>
                    <a:pt x="1957" y="2289"/>
                  </a:lnTo>
                  <a:lnTo>
                    <a:pt x="1950" y="2280"/>
                  </a:lnTo>
                  <a:lnTo>
                    <a:pt x="1943" y="2274"/>
                  </a:lnTo>
                  <a:lnTo>
                    <a:pt x="1935" y="2267"/>
                  </a:lnTo>
                  <a:lnTo>
                    <a:pt x="1926" y="2262"/>
                  </a:lnTo>
                  <a:lnTo>
                    <a:pt x="1918" y="2258"/>
                  </a:lnTo>
                  <a:lnTo>
                    <a:pt x="1909" y="2254"/>
                  </a:lnTo>
                  <a:lnTo>
                    <a:pt x="1898" y="2253"/>
                  </a:lnTo>
                  <a:lnTo>
                    <a:pt x="1888" y="2252"/>
                  </a:lnTo>
                  <a:lnTo>
                    <a:pt x="1888" y="2252"/>
                  </a:lnTo>
                  <a:close/>
                  <a:moveTo>
                    <a:pt x="1888" y="2454"/>
                  </a:moveTo>
                  <a:lnTo>
                    <a:pt x="1888" y="2454"/>
                  </a:lnTo>
                  <a:lnTo>
                    <a:pt x="1879" y="2452"/>
                  </a:lnTo>
                  <a:lnTo>
                    <a:pt x="1871" y="2449"/>
                  </a:lnTo>
                  <a:lnTo>
                    <a:pt x="1864" y="2442"/>
                  </a:lnTo>
                  <a:lnTo>
                    <a:pt x="1858" y="2434"/>
                  </a:lnTo>
                  <a:lnTo>
                    <a:pt x="1853" y="2424"/>
                  </a:lnTo>
                  <a:lnTo>
                    <a:pt x="1848" y="2412"/>
                  </a:lnTo>
                  <a:lnTo>
                    <a:pt x="1846" y="2397"/>
                  </a:lnTo>
                  <a:lnTo>
                    <a:pt x="1846" y="2382"/>
                  </a:lnTo>
                  <a:lnTo>
                    <a:pt x="1846" y="2382"/>
                  </a:lnTo>
                  <a:lnTo>
                    <a:pt x="1846" y="2366"/>
                  </a:lnTo>
                  <a:lnTo>
                    <a:pt x="1848" y="2353"/>
                  </a:lnTo>
                  <a:lnTo>
                    <a:pt x="1853" y="2340"/>
                  </a:lnTo>
                  <a:lnTo>
                    <a:pt x="1858" y="2329"/>
                  </a:lnTo>
                  <a:lnTo>
                    <a:pt x="1864" y="2321"/>
                  </a:lnTo>
                  <a:lnTo>
                    <a:pt x="1871" y="2315"/>
                  </a:lnTo>
                  <a:lnTo>
                    <a:pt x="1879" y="2311"/>
                  </a:lnTo>
                  <a:lnTo>
                    <a:pt x="1888" y="2310"/>
                  </a:lnTo>
                  <a:lnTo>
                    <a:pt x="1888" y="2310"/>
                  </a:lnTo>
                  <a:lnTo>
                    <a:pt x="1897" y="2311"/>
                  </a:lnTo>
                  <a:lnTo>
                    <a:pt x="1906" y="2315"/>
                  </a:lnTo>
                  <a:lnTo>
                    <a:pt x="1913" y="2321"/>
                  </a:lnTo>
                  <a:lnTo>
                    <a:pt x="1919" y="2329"/>
                  </a:lnTo>
                  <a:lnTo>
                    <a:pt x="1924" y="2340"/>
                  </a:lnTo>
                  <a:lnTo>
                    <a:pt x="1927" y="2353"/>
                  </a:lnTo>
                  <a:lnTo>
                    <a:pt x="1930" y="2366"/>
                  </a:lnTo>
                  <a:lnTo>
                    <a:pt x="1931" y="2382"/>
                  </a:lnTo>
                  <a:lnTo>
                    <a:pt x="1931" y="2382"/>
                  </a:lnTo>
                  <a:lnTo>
                    <a:pt x="1930" y="2397"/>
                  </a:lnTo>
                  <a:lnTo>
                    <a:pt x="1927" y="2412"/>
                  </a:lnTo>
                  <a:lnTo>
                    <a:pt x="1924" y="2424"/>
                  </a:lnTo>
                  <a:lnTo>
                    <a:pt x="1919" y="2434"/>
                  </a:lnTo>
                  <a:lnTo>
                    <a:pt x="1913" y="2442"/>
                  </a:lnTo>
                  <a:lnTo>
                    <a:pt x="1906" y="2449"/>
                  </a:lnTo>
                  <a:lnTo>
                    <a:pt x="1897" y="2452"/>
                  </a:lnTo>
                  <a:lnTo>
                    <a:pt x="1888" y="2454"/>
                  </a:lnTo>
                  <a:lnTo>
                    <a:pt x="1888" y="2454"/>
                  </a:lnTo>
                  <a:close/>
                  <a:moveTo>
                    <a:pt x="789" y="2339"/>
                  </a:moveTo>
                  <a:lnTo>
                    <a:pt x="852" y="2505"/>
                  </a:lnTo>
                  <a:lnTo>
                    <a:pt x="795" y="2505"/>
                  </a:lnTo>
                  <a:lnTo>
                    <a:pt x="751" y="2391"/>
                  </a:lnTo>
                  <a:lnTo>
                    <a:pt x="723" y="2431"/>
                  </a:lnTo>
                  <a:lnTo>
                    <a:pt x="723" y="2505"/>
                  </a:lnTo>
                  <a:lnTo>
                    <a:pt x="672" y="2505"/>
                  </a:lnTo>
                  <a:lnTo>
                    <a:pt x="672" y="2186"/>
                  </a:lnTo>
                  <a:lnTo>
                    <a:pt x="723" y="2155"/>
                  </a:lnTo>
                  <a:lnTo>
                    <a:pt x="723" y="2353"/>
                  </a:lnTo>
                  <a:lnTo>
                    <a:pt x="723" y="2353"/>
                  </a:lnTo>
                  <a:lnTo>
                    <a:pt x="743" y="2321"/>
                  </a:lnTo>
                  <a:lnTo>
                    <a:pt x="785" y="2258"/>
                  </a:lnTo>
                  <a:lnTo>
                    <a:pt x="845" y="2258"/>
                  </a:lnTo>
                  <a:lnTo>
                    <a:pt x="789" y="2339"/>
                  </a:lnTo>
                  <a:close/>
                  <a:moveTo>
                    <a:pt x="1034" y="2505"/>
                  </a:moveTo>
                  <a:lnTo>
                    <a:pt x="982" y="2505"/>
                  </a:lnTo>
                  <a:lnTo>
                    <a:pt x="982" y="2258"/>
                  </a:lnTo>
                  <a:lnTo>
                    <a:pt x="1034" y="2258"/>
                  </a:lnTo>
                  <a:lnTo>
                    <a:pt x="1034" y="2279"/>
                  </a:lnTo>
                  <a:lnTo>
                    <a:pt x="1034" y="2279"/>
                  </a:lnTo>
                  <a:lnTo>
                    <a:pt x="1040" y="2273"/>
                  </a:lnTo>
                  <a:lnTo>
                    <a:pt x="1045" y="2268"/>
                  </a:lnTo>
                  <a:lnTo>
                    <a:pt x="1051" y="2263"/>
                  </a:lnTo>
                  <a:lnTo>
                    <a:pt x="1057" y="2259"/>
                  </a:lnTo>
                  <a:lnTo>
                    <a:pt x="1065" y="2257"/>
                  </a:lnTo>
                  <a:lnTo>
                    <a:pt x="1072" y="2254"/>
                  </a:lnTo>
                  <a:lnTo>
                    <a:pt x="1079" y="2253"/>
                  </a:lnTo>
                  <a:lnTo>
                    <a:pt x="1088" y="2252"/>
                  </a:lnTo>
                  <a:lnTo>
                    <a:pt x="1088" y="2252"/>
                  </a:lnTo>
                  <a:lnTo>
                    <a:pt x="1097" y="2253"/>
                  </a:lnTo>
                  <a:lnTo>
                    <a:pt x="1105" y="2254"/>
                  </a:lnTo>
                  <a:lnTo>
                    <a:pt x="1113" y="2257"/>
                  </a:lnTo>
                  <a:lnTo>
                    <a:pt x="1121" y="2259"/>
                  </a:lnTo>
                  <a:lnTo>
                    <a:pt x="1127" y="2264"/>
                  </a:lnTo>
                  <a:lnTo>
                    <a:pt x="1133" y="2269"/>
                  </a:lnTo>
                  <a:lnTo>
                    <a:pt x="1140" y="2274"/>
                  </a:lnTo>
                  <a:lnTo>
                    <a:pt x="1145" y="2281"/>
                  </a:lnTo>
                  <a:lnTo>
                    <a:pt x="1149" y="2289"/>
                  </a:lnTo>
                  <a:lnTo>
                    <a:pt x="1153" y="2297"/>
                  </a:lnTo>
                  <a:lnTo>
                    <a:pt x="1156" y="2306"/>
                  </a:lnTo>
                  <a:lnTo>
                    <a:pt x="1159" y="2317"/>
                  </a:lnTo>
                  <a:lnTo>
                    <a:pt x="1161" y="2328"/>
                  </a:lnTo>
                  <a:lnTo>
                    <a:pt x="1163" y="2339"/>
                  </a:lnTo>
                  <a:lnTo>
                    <a:pt x="1164" y="2352"/>
                  </a:lnTo>
                  <a:lnTo>
                    <a:pt x="1165" y="2365"/>
                  </a:lnTo>
                  <a:lnTo>
                    <a:pt x="1165" y="2505"/>
                  </a:lnTo>
                  <a:lnTo>
                    <a:pt x="1113" y="2505"/>
                  </a:lnTo>
                  <a:lnTo>
                    <a:pt x="1113" y="2369"/>
                  </a:lnTo>
                  <a:lnTo>
                    <a:pt x="1113" y="2369"/>
                  </a:lnTo>
                  <a:lnTo>
                    <a:pt x="1112" y="2355"/>
                  </a:lnTo>
                  <a:lnTo>
                    <a:pt x="1110" y="2342"/>
                  </a:lnTo>
                  <a:lnTo>
                    <a:pt x="1107" y="2332"/>
                  </a:lnTo>
                  <a:lnTo>
                    <a:pt x="1103" y="2323"/>
                  </a:lnTo>
                  <a:lnTo>
                    <a:pt x="1098" y="2317"/>
                  </a:lnTo>
                  <a:lnTo>
                    <a:pt x="1092" y="2312"/>
                  </a:lnTo>
                  <a:lnTo>
                    <a:pt x="1083" y="2310"/>
                  </a:lnTo>
                  <a:lnTo>
                    <a:pt x="1074" y="2308"/>
                  </a:lnTo>
                  <a:lnTo>
                    <a:pt x="1074" y="2308"/>
                  </a:lnTo>
                  <a:lnTo>
                    <a:pt x="1066" y="2310"/>
                  </a:lnTo>
                  <a:lnTo>
                    <a:pt x="1057" y="2312"/>
                  </a:lnTo>
                  <a:lnTo>
                    <a:pt x="1050" y="2317"/>
                  </a:lnTo>
                  <a:lnTo>
                    <a:pt x="1045" y="2324"/>
                  </a:lnTo>
                  <a:lnTo>
                    <a:pt x="1041" y="2332"/>
                  </a:lnTo>
                  <a:lnTo>
                    <a:pt x="1038" y="2343"/>
                  </a:lnTo>
                  <a:lnTo>
                    <a:pt x="1036" y="2355"/>
                  </a:lnTo>
                  <a:lnTo>
                    <a:pt x="1034" y="2369"/>
                  </a:lnTo>
                  <a:lnTo>
                    <a:pt x="1034" y="2505"/>
                  </a:lnTo>
                  <a:close/>
                  <a:moveTo>
                    <a:pt x="1328" y="2275"/>
                  </a:moveTo>
                  <a:lnTo>
                    <a:pt x="1328" y="2275"/>
                  </a:lnTo>
                  <a:lnTo>
                    <a:pt x="1323" y="2270"/>
                  </a:lnTo>
                  <a:lnTo>
                    <a:pt x="1318" y="2265"/>
                  </a:lnTo>
                  <a:lnTo>
                    <a:pt x="1312" y="2262"/>
                  </a:lnTo>
                  <a:lnTo>
                    <a:pt x="1306" y="2258"/>
                  </a:lnTo>
                  <a:lnTo>
                    <a:pt x="1300" y="2256"/>
                  </a:lnTo>
                  <a:lnTo>
                    <a:pt x="1294" y="2254"/>
                  </a:lnTo>
                  <a:lnTo>
                    <a:pt x="1287" y="2253"/>
                  </a:lnTo>
                  <a:lnTo>
                    <a:pt x="1281" y="2252"/>
                  </a:lnTo>
                  <a:lnTo>
                    <a:pt x="1281" y="2252"/>
                  </a:lnTo>
                  <a:lnTo>
                    <a:pt x="1272" y="2253"/>
                  </a:lnTo>
                  <a:lnTo>
                    <a:pt x="1263" y="2254"/>
                  </a:lnTo>
                  <a:lnTo>
                    <a:pt x="1255" y="2257"/>
                  </a:lnTo>
                  <a:lnTo>
                    <a:pt x="1247" y="2262"/>
                  </a:lnTo>
                  <a:lnTo>
                    <a:pt x="1240" y="2265"/>
                  </a:lnTo>
                  <a:lnTo>
                    <a:pt x="1233" y="2272"/>
                  </a:lnTo>
                  <a:lnTo>
                    <a:pt x="1227" y="2279"/>
                  </a:lnTo>
                  <a:lnTo>
                    <a:pt x="1221" y="2286"/>
                  </a:lnTo>
                  <a:lnTo>
                    <a:pt x="1216" y="2295"/>
                  </a:lnTo>
                  <a:lnTo>
                    <a:pt x="1211" y="2305"/>
                  </a:lnTo>
                  <a:lnTo>
                    <a:pt x="1207" y="2315"/>
                  </a:lnTo>
                  <a:lnTo>
                    <a:pt x="1204" y="2327"/>
                  </a:lnTo>
                  <a:lnTo>
                    <a:pt x="1202" y="2338"/>
                  </a:lnTo>
                  <a:lnTo>
                    <a:pt x="1200" y="2352"/>
                  </a:lnTo>
                  <a:lnTo>
                    <a:pt x="1199" y="2365"/>
                  </a:lnTo>
                  <a:lnTo>
                    <a:pt x="1199" y="2379"/>
                  </a:lnTo>
                  <a:lnTo>
                    <a:pt x="1199" y="2379"/>
                  </a:lnTo>
                  <a:lnTo>
                    <a:pt x="1199" y="2395"/>
                  </a:lnTo>
                  <a:lnTo>
                    <a:pt x="1200" y="2408"/>
                  </a:lnTo>
                  <a:lnTo>
                    <a:pt x="1202" y="2422"/>
                  </a:lnTo>
                  <a:lnTo>
                    <a:pt x="1204" y="2435"/>
                  </a:lnTo>
                  <a:lnTo>
                    <a:pt x="1207" y="2446"/>
                  </a:lnTo>
                  <a:lnTo>
                    <a:pt x="1211" y="2457"/>
                  </a:lnTo>
                  <a:lnTo>
                    <a:pt x="1216" y="2467"/>
                  </a:lnTo>
                  <a:lnTo>
                    <a:pt x="1221" y="2476"/>
                  </a:lnTo>
                  <a:lnTo>
                    <a:pt x="1226" y="2484"/>
                  </a:lnTo>
                  <a:lnTo>
                    <a:pt x="1232" y="2490"/>
                  </a:lnTo>
                  <a:lnTo>
                    <a:pt x="1238" y="2497"/>
                  </a:lnTo>
                  <a:lnTo>
                    <a:pt x="1246" y="2502"/>
                  </a:lnTo>
                  <a:lnTo>
                    <a:pt x="1254" y="2505"/>
                  </a:lnTo>
                  <a:lnTo>
                    <a:pt x="1262" y="2509"/>
                  </a:lnTo>
                  <a:lnTo>
                    <a:pt x="1271" y="2510"/>
                  </a:lnTo>
                  <a:lnTo>
                    <a:pt x="1280" y="2511"/>
                  </a:lnTo>
                  <a:lnTo>
                    <a:pt x="1280" y="2511"/>
                  </a:lnTo>
                  <a:lnTo>
                    <a:pt x="1286" y="2510"/>
                  </a:lnTo>
                  <a:lnTo>
                    <a:pt x="1294" y="2509"/>
                  </a:lnTo>
                  <a:lnTo>
                    <a:pt x="1300" y="2508"/>
                  </a:lnTo>
                  <a:lnTo>
                    <a:pt x="1306" y="2505"/>
                  </a:lnTo>
                  <a:lnTo>
                    <a:pt x="1311" y="2502"/>
                  </a:lnTo>
                  <a:lnTo>
                    <a:pt x="1318" y="2498"/>
                  </a:lnTo>
                  <a:lnTo>
                    <a:pt x="1323" y="2493"/>
                  </a:lnTo>
                  <a:lnTo>
                    <a:pt x="1328" y="2487"/>
                  </a:lnTo>
                  <a:lnTo>
                    <a:pt x="1328" y="2493"/>
                  </a:lnTo>
                  <a:lnTo>
                    <a:pt x="1328" y="2493"/>
                  </a:lnTo>
                  <a:lnTo>
                    <a:pt x="1328" y="2503"/>
                  </a:lnTo>
                  <a:lnTo>
                    <a:pt x="1327" y="2514"/>
                  </a:lnTo>
                  <a:lnTo>
                    <a:pt x="1324" y="2525"/>
                  </a:lnTo>
                  <a:lnTo>
                    <a:pt x="1322" y="2530"/>
                  </a:lnTo>
                  <a:lnTo>
                    <a:pt x="1320" y="2535"/>
                  </a:lnTo>
                  <a:lnTo>
                    <a:pt x="1315" y="2540"/>
                  </a:lnTo>
                  <a:lnTo>
                    <a:pt x="1311" y="2545"/>
                  </a:lnTo>
                  <a:lnTo>
                    <a:pt x="1306" y="2548"/>
                  </a:lnTo>
                  <a:lnTo>
                    <a:pt x="1300" y="2552"/>
                  </a:lnTo>
                  <a:lnTo>
                    <a:pt x="1292" y="2554"/>
                  </a:lnTo>
                  <a:lnTo>
                    <a:pt x="1283" y="2557"/>
                  </a:lnTo>
                  <a:lnTo>
                    <a:pt x="1273" y="2558"/>
                  </a:lnTo>
                  <a:lnTo>
                    <a:pt x="1260" y="2558"/>
                  </a:lnTo>
                  <a:lnTo>
                    <a:pt x="1258" y="2558"/>
                  </a:lnTo>
                  <a:lnTo>
                    <a:pt x="1277" y="2606"/>
                  </a:lnTo>
                  <a:lnTo>
                    <a:pt x="1278" y="2606"/>
                  </a:lnTo>
                  <a:lnTo>
                    <a:pt x="1278" y="2606"/>
                  </a:lnTo>
                  <a:lnTo>
                    <a:pt x="1291" y="2606"/>
                  </a:lnTo>
                  <a:lnTo>
                    <a:pt x="1302" y="2605"/>
                  </a:lnTo>
                  <a:lnTo>
                    <a:pt x="1312" y="2601"/>
                  </a:lnTo>
                  <a:lnTo>
                    <a:pt x="1323" y="2599"/>
                  </a:lnTo>
                  <a:lnTo>
                    <a:pt x="1332" y="2594"/>
                  </a:lnTo>
                  <a:lnTo>
                    <a:pt x="1340" y="2589"/>
                  </a:lnTo>
                  <a:lnTo>
                    <a:pt x="1348" y="2583"/>
                  </a:lnTo>
                  <a:lnTo>
                    <a:pt x="1354" y="2575"/>
                  </a:lnTo>
                  <a:lnTo>
                    <a:pt x="1360" y="2567"/>
                  </a:lnTo>
                  <a:lnTo>
                    <a:pt x="1365" y="2558"/>
                  </a:lnTo>
                  <a:lnTo>
                    <a:pt x="1370" y="2547"/>
                  </a:lnTo>
                  <a:lnTo>
                    <a:pt x="1373" y="2536"/>
                  </a:lnTo>
                  <a:lnTo>
                    <a:pt x="1376" y="2525"/>
                  </a:lnTo>
                  <a:lnTo>
                    <a:pt x="1378" y="2511"/>
                  </a:lnTo>
                  <a:lnTo>
                    <a:pt x="1379" y="2498"/>
                  </a:lnTo>
                  <a:lnTo>
                    <a:pt x="1379" y="2483"/>
                  </a:lnTo>
                  <a:lnTo>
                    <a:pt x="1379" y="2258"/>
                  </a:lnTo>
                  <a:lnTo>
                    <a:pt x="1328" y="2258"/>
                  </a:lnTo>
                  <a:lnTo>
                    <a:pt x="1328" y="2275"/>
                  </a:lnTo>
                  <a:close/>
                  <a:moveTo>
                    <a:pt x="1328" y="2333"/>
                  </a:moveTo>
                  <a:lnTo>
                    <a:pt x="1328" y="2430"/>
                  </a:lnTo>
                  <a:lnTo>
                    <a:pt x="1328" y="2430"/>
                  </a:lnTo>
                  <a:lnTo>
                    <a:pt x="1321" y="2439"/>
                  </a:lnTo>
                  <a:lnTo>
                    <a:pt x="1313" y="2447"/>
                  </a:lnTo>
                  <a:lnTo>
                    <a:pt x="1308" y="2450"/>
                  </a:lnTo>
                  <a:lnTo>
                    <a:pt x="1303" y="2452"/>
                  </a:lnTo>
                  <a:lnTo>
                    <a:pt x="1298" y="2454"/>
                  </a:lnTo>
                  <a:lnTo>
                    <a:pt x="1291" y="2455"/>
                  </a:lnTo>
                  <a:lnTo>
                    <a:pt x="1291" y="2455"/>
                  </a:lnTo>
                  <a:lnTo>
                    <a:pt x="1284" y="2454"/>
                  </a:lnTo>
                  <a:lnTo>
                    <a:pt x="1277" y="2451"/>
                  </a:lnTo>
                  <a:lnTo>
                    <a:pt x="1271" y="2447"/>
                  </a:lnTo>
                  <a:lnTo>
                    <a:pt x="1265" y="2440"/>
                  </a:lnTo>
                  <a:lnTo>
                    <a:pt x="1259" y="2430"/>
                  </a:lnTo>
                  <a:lnTo>
                    <a:pt x="1255" y="2417"/>
                  </a:lnTo>
                  <a:lnTo>
                    <a:pt x="1253" y="2399"/>
                  </a:lnTo>
                  <a:lnTo>
                    <a:pt x="1252" y="2377"/>
                  </a:lnTo>
                  <a:lnTo>
                    <a:pt x="1252" y="2377"/>
                  </a:lnTo>
                  <a:lnTo>
                    <a:pt x="1253" y="2359"/>
                  </a:lnTo>
                  <a:lnTo>
                    <a:pt x="1255" y="2343"/>
                  </a:lnTo>
                  <a:lnTo>
                    <a:pt x="1259" y="2331"/>
                  </a:lnTo>
                  <a:lnTo>
                    <a:pt x="1265" y="2322"/>
                  </a:lnTo>
                  <a:lnTo>
                    <a:pt x="1271" y="2316"/>
                  </a:lnTo>
                  <a:lnTo>
                    <a:pt x="1277" y="2311"/>
                  </a:lnTo>
                  <a:lnTo>
                    <a:pt x="1284" y="2310"/>
                  </a:lnTo>
                  <a:lnTo>
                    <a:pt x="1291" y="2308"/>
                  </a:lnTo>
                  <a:lnTo>
                    <a:pt x="1291" y="2308"/>
                  </a:lnTo>
                  <a:lnTo>
                    <a:pt x="1298" y="2310"/>
                  </a:lnTo>
                  <a:lnTo>
                    <a:pt x="1304" y="2311"/>
                  </a:lnTo>
                  <a:lnTo>
                    <a:pt x="1309" y="2313"/>
                  </a:lnTo>
                  <a:lnTo>
                    <a:pt x="1314" y="2317"/>
                  </a:lnTo>
                  <a:lnTo>
                    <a:pt x="1319" y="2321"/>
                  </a:lnTo>
                  <a:lnTo>
                    <a:pt x="1322" y="2324"/>
                  </a:lnTo>
                  <a:lnTo>
                    <a:pt x="1328" y="2333"/>
                  </a:lnTo>
                  <a:lnTo>
                    <a:pt x="1328" y="2333"/>
                  </a:lnTo>
                  <a:close/>
                  <a:moveTo>
                    <a:pt x="885" y="2258"/>
                  </a:moveTo>
                  <a:lnTo>
                    <a:pt x="937" y="2258"/>
                  </a:lnTo>
                  <a:lnTo>
                    <a:pt x="937" y="2367"/>
                  </a:lnTo>
                  <a:lnTo>
                    <a:pt x="937" y="2505"/>
                  </a:lnTo>
                  <a:lnTo>
                    <a:pt x="885" y="2505"/>
                  </a:lnTo>
                  <a:lnTo>
                    <a:pt x="885" y="2258"/>
                  </a:lnTo>
                  <a:close/>
                  <a:moveTo>
                    <a:pt x="937" y="2192"/>
                  </a:moveTo>
                  <a:lnTo>
                    <a:pt x="937" y="2222"/>
                  </a:lnTo>
                  <a:lnTo>
                    <a:pt x="885" y="2222"/>
                  </a:lnTo>
                  <a:lnTo>
                    <a:pt x="885" y="2161"/>
                  </a:lnTo>
                  <a:lnTo>
                    <a:pt x="937" y="2161"/>
                  </a:lnTo>
                  <a:lnTo>
                    <a:pt x="937" y="2192"/>
                  </a:lnTo>
                  <a:close/>
                  <a:moveTo>
                    <a:pt x="2177" y="2186"/>
                  </a:moveTo>
                  <a:lnTo>
                    <a:pt x="2229" y="2155"/>
                  </a:lnTo>
                  <a:lnTo>
                    <a:pt x="2229" y="2379"/>
                  </a:lnTo>
                  <a:lnTo>
                    <a:pt x="2229" y="2505"/>
                  </a:lnTo>
                  <a:lnTo>
                    <a:pt x="2177" y="2505"/>
                  </a:lnTo>
                  <a:lnTo>
                    <a:pt x="2177" y="2186"/>
                  </a:lnTo>
                  <a:close/>
                  <a:moveTo>
                    <a:pt x="375" y="843"/>
                  </a:moveTo>
                  <a:lnTo>
                    <a:pt x="801" y="843"/>
                  </a:lnTo>
                  <a:lnTo>
                    <a:pt x="801" y="550"/>
                  </a:lnTo>
                  <a:lnTo>
                    <a:pt x="375" y="550"/>
                  </a:lnTo>
                  <a:lnTo>
                    <a:pt x="375" y="321"/>
                  </a:lnTo>
                  <a:lnTo>
                    <a:pt x="847" y="321"/>
                  </a:lnTo>
                  <a:lnTo>
                    <a:pt x="690" y="0"/>
                  </a:lnTo>
                  <a:lnTo>
                    <a:pt x="21" y="0"/>
                  </a:lnTo>
                  <a:lnTo>
                    <a:pt x="21" y="1394"/>
                  </a:lnTo>
                  <a:lnTo>
                    <a:pt x="965" y="1394"/>
                  </a:lnTo>
                  <a:lnTo>
                    <a:pt x="965" y="1073"/>
                  </a:lnTo>
                  <a:lnTo>
                    <a:pt x="375" y="1073"/>
                  </a:lnTo>
                  <a:lnTo>
                    <a:pt x="375" y="843"/>
                  </a:lnTo>
                  <a:close/>
                  <a:moveTo>
                    <a:pt x="1593" y="0"/>
                  </a:moveTo>
                  <a:lnTo>
                    <a:pt x="1393" y="455"/>
                  </a:lnTo>
                  <a:lnTo>
                    <a:pt x="1193" y="0"/>
                  </a:lnTo>
                  <a:lnTo>
                    <a:pt x="801" y="0"/>
                  </a:lnTo>
                  <a:lnTo>
                    <a:pt x="1214" y="843"/>
                  </a:lnTo>
                  <a:lnTo>
                    <a:pt x="1214" y="1394"/>
                  </a:lnTo>
                  <a:lnTo>
                    <a:pt x="1566" y="1394"/>
                  </a:lnTo>
                  <a:lnTo>
                    <a:pt x="1566" y="843"/>
                  </a:lnTo>
                  <a:lnTo>
                    <a:pt x="1979" y="0"/>
                  </a:lnTo>
                  <a:lnTo>
                    <a:pt x="159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047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17" y="1599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8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17" y="1599"/>
                        <a:ext cx="190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737" y="1412879"/>
            <a:ext cx="9881236" cy="4519613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>
                <a:cs typeface="Arial"/>
              </a:defRPr>
            </a:lvl1pPr>
            <a:lvl2pPr>
              <a:defRPr>
                <a:cs typeface="Arial"/>
              </a:defRPr>
            </a:lvl2pPr>
            <a:lvl3pPr>
              <a:defRPr>
                <a:cs typeface="Arial"/>
              </a:defRPr>
            </a:lvl3pPr>
            <a:lvl4pPr>
              <a:defRPr>
                <a:cs typeface="Arial"/>
              </a:defRPr>
            </a:lvl4pPr>
            <a:lvl5pPr>
              <a:defRPr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0145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 descr="Satellite2"/>
          <p:cNvPicPr>
            <a:picLocks noChangeAspect="1" noChangeArrowheads="1"/>
          </p:cNvPicPr>
          <p:nvPr userDrawn="1"/>
        </p:nvPicPr>
        <p:blipFill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6" y="0"/>
            <a:ext cx="1097279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727905" y="5748934"/>
            <a:ext cx="118018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9072" y="757504"/>
            <a:ext cx="65880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9072" y="1753200"/>
            <a:ext cx="6588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109728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83430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167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1275039"/>
              </p:ext>
            </p:extLst>
          </p:nvPr>
        </p:nvGraphicFramePr>
        <p:xfrm>
          <a:off x="1589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170"/>
            <a:ext cx="9875520" cy="36576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062750"/>
            <a:ext cx="9875520" cy="469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202188"/>
            <a:ext cx="987552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13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163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115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5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9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312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1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009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1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62503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424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6548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83430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34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688824"/>
              </p:ext>
            </p:extLst>
          </p:nvPr>
        </p:nvGraphicFramePr>
        <p:xfrm>
          <a:off x="1636" y="1435"/>
          <a:ext cx="1626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6" y="1435"/>
                        <a:ext cx="1626" cy="14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92" y="457200"/>
            <a:ext cx="6496050" cy="4572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064363" y="1799130"/>
            <a:ext cx="5571672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64363" y="2769577"/>
            <a:ext cx="5571672" cy="645742"/>
          </a:xfrm>
          <a:prstGeom prst="rect">
            <a:avLst/>
          </a:prstGeom>
        </p:spPr>
        <p:txBody>
          <a:bodyPr lIns="90879" tIns="45426" rIns="90879" bIns="45426"/>
          <a:lstStyle>
            <a:lvl1pPr marL="0" indent="0" algn="l">
              <a:buNone/>
              <a:defRPr sz="2300"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  <a:lvl2pPr marL="0" indent="0" algn="l">
              <a:buNone/>
              <a:defRPr sz="1800">
                <a:solidFill>
                  <a:srgbClr val="404040"/>
                </a:solidFill>
              </a:defRPr>
            </a:lvl2pPr>
            <a:lvl3pPr marL="1043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312634" y="5702589"/>
            <a:ext cx="4660876" cy="708325"/>
            <a:chOff x="399256" y="6507163"/>
            <a:chExt cx="4544219" cy="783909"/>
          </a:xfrm>
        </p:grpSpPr>
        <p:sp>
          <p:nvSpPr>
            <p:cNvPr id="4" name="AutoShape 110"/>
            <p:cNvSpPr>
              <a:spLocks noChangeAspect="1" noChangeArrowheads="1" noTextEdit="1"/>
            </p:cNvSpPr>
            <p:nvPr userDrawn="1"/>
          </p:nvSpPr>
          <p:spPr bwMode="auto">
            <a:xfrm>
              <a:off x="520700" y="6507163"/>
              <a:ext cx="4422775" cy="684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" name="Rectangle 112"/>
            <p:cNvSpPr>
              <a:spLocks noChangeArrowheads="1"/>
            </p:cNvSpPr>
            <p:nvPr userDrawn="1"/>
          </p:nvSpPr>
          <p:spPr bwMode="auto">
            <a:xfrm>
              <a:off x="5334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6" name="Rectangle 113"/>
            <p:cNvSpPr>
              <a:spLocks noChangeArrowheads="1"/>
            </p:cNvSpPr>
            <p:nvPr userDrawn="1"/>
          </p:nvSpPr>
          <p:spPr bwMode="auto">
            <a:xfrm>
              <a:off x="7366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2" name="Rectangle 114"/>
            <p:cNvSpPr>
              <a:spLocks noChangeArrowheads="1"/>
            </p:cNvSpPr>
            <p:nvPr userDrawn="1"/>
          </p:nvSpPr>
          <p:spPr bwMode="auto">
            <a:xfrm>
              <a:off x="938213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3" name="Rectangle 115"/>
            <p:cNvSpPr>
              <a:spLocks noChangeArrowheads="1"/>
            </p:cNvSpPr>
            <p:nvPr userDrawn="1"/>
          </p:nvSpPr>
          <p:spPr bwMode="auto">
            <a:xfrm>
              <a:off x="399256" y="6746081"/>
              <a:ext cx="4159766" cy="544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question. The better the answer.</a:t>
              </a:r>
            </a:p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world works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16"/>
            <p:cNvSpPr>
              <a:spLocks noChangeArrowheads="1"/>
            </p:cNvSpPr>
            <p:nvPr userDrawn="1"/>
          </p:nvSpPr>
          <p:spPr bwMode="auto">
            <a:xfrm>
              <a:off x="64135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6" name="Rectangle 126"/>
            <p:cNvSpPr>
              <a:spLocks noChangeArrowheads="1"/>
            </p:cNvSpPr>
            <p:nvPr userDrawn="1"/>
          </p:nvSpPr>
          <p:spPr bwMode="auto">
            <a:xfrm>
              <a:off x="3470275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1" name="Rectangle 131"/>
            <p:cNvSpPr>
              <a:spLocks noChangeArrowheads="1"/>
            </p:cNvSpPr>
            <p:nvPr userDrawn="1"/>
          </p:nvSpPr>
          <p:spPr bwMode="auto">
            <a:xfrm>
              <a:off x="471170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2" name="Rectangle 132"/>
            <p:cNvSpPr>
              <a:spLocks noChangeArrowheads="1"/>
            </p:cNvSpPr>
            <p:nvPr userDrawn="1"/>
          </p:nvSpPr>
          <p:spPr bwMode="auto">
            <a:xfrm>
              <a:off x="4824413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4" name="Rectangle 144"/>
            <p:cNvSpPr>
              <a:spLocks noChangeArrowheads="1"/>
            </p:cNvSpPr>
            <p:nvPr userDrawn="1"/>
          </p:nvSpPr>
          <p:spPr bwMode="auto">
            <a:xfrm>
              <a:off x="2836864" y="69310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6" name="Rectangle 146"/>
            <p:cNvSpPr>
              <a:spLocks noChangeArrowheads="1"/>
            </p:cNvSpPr>
            <p:nvPr userDrawn="1"/>
          </p:nvSpPr>
          <p:spPr bwMode="auto">
            <a:xfrm>
              <a:off x="3040063" y="6931024"/>
              <a:ext cx="56264" cy="27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51" name="Group 50"/>
          <p:cNvGrpSpPr/>
          <p:nvPr userDrawn="1"/>
        </p:nvGrpSpPr>
        <p:grpSpPr>
          <a:xfrm>
            <a:off x="9250108" y="5340375"/>
            <a:ext cx="1185368" cy="1156150"/>
            <a:chOff x="9018588" y="5910263"/>
            <a:chExt cx="1155700" cy="1279526"/>
          </a:xfrm>
        </p:grpSpPr>
        <p:sp>
          <p:nvSpPr>
            <p:cNvPr id="48" name="AutoShape 148"/>
            <p:cNvSpPr>
              <a:spLocks noChangeAspect="1" noChangeArrowheads="1" noTextEdit="1"/>
            </p:cNvSpPr>
            <p:nvPr userDrawn="1"/>
          </p:nvSpPr>
          <p:spPr bwMode="auto">
            <a:xfrm>
              <a:off x="9018588" y="5910263"/>
              <a:ext cx="1155700" cy="127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49" name="Freeform 150"/>
            <p:cNvSpPr>
              <a:spLocks/>
            </p:cNvSpPr>
            <p:nvPr userDrawn="1"/>
          </p:nvSpPr>
          <p:spPr bwMode="auto">
            <a:xfrm>
              <a:off x="9018588" y="5910263"/>
              <a:ext cx="925513" cy="319088"/>
            </a:xfrm>
            <a:custGeom>
              <a:avLst/>
              <a:gdLst>
                <a:gd name="T0" fmla="*/ 2332 w 2332"/>
                <a:gd name="T1" fmla="*/ 0 h 1006"/>
                <a:gd name="T2" fmla="*/ 0 w 2332"/>
                <a:gd name="T3" fmla="*/ 1006 h 1006"/>
                <a:gd name="T4" fmla="*/ 2332 w 2332"/>
                <a:gd name="T5" fmla="*/ 519 h 1006"/>
                <a:gd name="T6" fmla="*/ 2332 w 2332"/>
                <a:gd name="T7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2" h="1006">
                  <a:moveTo>
                    <a:pt x="2332" y="0"/>
                  </a:moveTo>
                  <a:lnTo>
                    <a:pt x="0" y="1006"/>
                  </a:lnTo>
                  <a:lnTo>
                    <a:pt x="2332" y="519"/>
                  </a:lnTo>
                  <a:lnTo>
                    <a:pt x="2332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0" name="Freeform 151"/>
            <p:cNvSpPr>
              <a:spLocks noEditPoints="1"/>
            </p:cNvSpPr>
            <p:nvPr userDrawn="1"/>
          </p:nvSpPr>
          <p:spPr bwMode="auto">
            <a:xfrm>
              <a:off x="9018588" y="6362701"/>
              <a:ext cx="1155700" cy="827088"/>
            </a:xfrm>
            <a:custGeom>
              <a:avLst/>
              <a:gdLst>
                <a:gd name="T0" fmla="*/ 220 w 2912"/>
                <a:gd name="T1" fmla="*/ 1769 h 2606"/>
                <a:gd name="T2" fmla="*/ 238 w 2912"/>
                <a:gd name="T3" fmla="*/ 2000 h 2606"/>
                <a:gd name="T4" fmla="*/ 143 w 2912"/>
                <a:gd name="T5" fmla="*/ 2016 h 2606"/>
                <a:gd name="T6" fmla="*/ 331 w 2912"/>
                <a:gd name="T7" fmla="*/ 1962 h 2606"/>
                <a:gd name="T8" fmla="*/ 392 w 2912"/>
                <a:gd name="T9" fmla="*/ 2069 h 2606"/>
                <a:gd name="T10" fmla="*/ 1075 w 2912"/>
                <a:gd name="T11" fmla="*/ 1840 h 2606"/>
                <a:gd name="T12" fmla="*/ 1147 w 2912"/>
                <a:gd name="T13" fmla="*/ 1936 h 2606"/>
                <a:gd name="T14" fmla="*/ 657 w 2912"/>
                <a:gd name="T15" fmla="*/ 1722 h 2606"/>
                <a:gd name="T16" fmla="*/ 696 w 2912"/>
                <a:gd name="T17" fmla="*/ 1905 h 2606"/>
                <a:gd name="T18" fmla="*/ 811 w 2912"/>
                <a:gd name="T19" fmla="*/ 2065 h 2606"/>
                <a:gd name="T20" fmla="*/ 785 w 2912"/>
                <a:gd name="T21" fmla="*/ 1876 h 2606"/>
                <a:gd name="T22" fmla="*/ 1906 w 2912"/>
                <a:gd name="T23" fmla="*/ 2072 h 2606"/>
                <a:gd name="T24" fmla="*/ 2035 w 2912"/>
                <a:gd name="T25" fmla="*/ 1946 h 2606"/>
                <a:gd name="T26" fmla="*/ 1981 w 2912"/>
                <a:gd name="T27" fmla="*/ 1927 h 2606"/>
                <a:gd name="T28" fmla="*/ 1942 w 2912"/>
                <a:gd name="T29" fmla="*/ 1876 h 2606"/>
                <a:gd name="T30" fmla="*/ 1234 w 2912"/>
                <a:gd name="T31" fmla="*/ 1932 h 2606"/>
                <a:gd name="T32" fmla="*/ 1362 w 2912"/>
                <a:gd name="T33" fmla="*/ 2054 h 2606"/>
                <a:gd name="T34" fmla="*/ 1389 w 2912"/>
                <a:gd name="T35" fmla="*/ 2143 h 2606"/>
                <a:gd name="T36" fmla="*/ 1291 w 2912"/>
                <a:gd name="T37" fmla="*/ 1984 h 2606"/>
                <a:gd name="T38" fmla="*/ 1629 w 2912"/>
                <a:gd name="T39" fmla="*/ 1868 h 2606"/>
                <a:gd name="T40" fmla="*/ 1539 w 2912"/>
                <a:gd name="T41" fmla="*/ 1980 h 2606"/>
                <a:gd name="T42" fmla="*/ 1718 w 2912"/>
                <a:gd name="T43" fmla="*/ 1905 h 2606"/>
                <a:gd name="T44" fmla="*/ 1590 w 2912"/>
                <a:gd name="T45" fmla="*/ 1990 h 2606"/>
                <a:gd name="T46" fmla="*/ 1611 w 2912"/>
                <a:gd name="T47" fmla="*/ 2024 h 2606"/>
                <a:gd name="T48" fmla="*/ 2113 w 2912"/>
                <a:gd name="T49" fmla="*/ 1968 h 2606"/>
                <a:gd name="T50" fmla="*/ 2100 w 2912"/>
                <a:gd name="T51" fmla="*/ 1841 h 2606"/>
                <a:gd name="T52" fmla="*/ 2160 w 2912"/>
                <a:gd name="T53" fmla="*/ 2079 h 2606"/>
                <a:gd name="T54" fmla="*/ 2189 w 2912"/>
                <a:gd name="T55" fmla="*/ 1904 h 2606"/>
                <a:gd name="T56" fmla="*/ 2742 w 2912"/>
                <a:gd name="T57" fmla="*/ 1949 h 2606"/>
                <a:gd name="T58" fmla="*/ 2575 w 2912"/>
                <a:gd name="T59" fmla="*/ 1875 h 2606"/>
                <a:gd name="T60" fmla="*/ 2689 w 2912"/>
                <a:gd name="T61" fmla="*/ 2072 h 2606"/>
                <a:gd name="T62" fmla="*/ 2488 w 2912"/>
                <a:gd name="T63" fmla="*/ 1986 h 2606"/>
                <a:gd name="T64" fmla="*/ 2456 w 2912"/>
                <a:gd name="T65" fmla="*/ 2064 h 2606"/>
                <a:gd name="T66" fmla="*/ 2324 w 2912"/>
                <a:gd name="T67" fmla="*/ 2074 h 2606"/>
                <a:gd name="T68" fmla="*/ 2353 w 2912"/>
                <a:gd name="T69" fmla="*/ 2018 h 2606"/>
                <a:gd name="T70" fmla="*/ 2827 w 2912"/>
                <a:gd name="T71" fmla="*/ 1825 h 2606"/>
                <a:gd name="T72" fmla="*/ 919 w 2912"/>
                <a:gd name="T73" fmla="*/ 2072 h 2606"/>
                <a:gd name="T74" fmla="*/ 2278 w 2912"/>
                <a:gd name="T75" fmla="*/ 2305 h 2606"/>
                <a:gd name="T76" fmla="*/ 2367 w 2912"/>
                <a:gd name="T77" fmla="*/ 2508 h 2606"/>
                <a:gd name="T78" fmla="*/ 2344 w 2912"/>
                <a:gd name="T79" fmla="*/ 2311 h 2606"/>
                <a:gd name="T80" fmla="*/ 591 w 2912"/>
                <a:gd name="T81" fmla="*/ 2315 h 2606"/>
                <a:gd name="T82" fmla="*/ 634 w 2912"/>
                <a:gd name="T83" fmla="*/ 2327 h 2606"/>
                <a:gd name="T84" fmla="*/ 190 w 2912"/>
                <a:gd name="T85" fmla="*/ 2379 h 2606"/>
                <a:gd name="T86" fmla="*/ 292 w 2912"/>
                <a:gd name="T87" fmla="*/ 2422 h 2606"/>
                <a:gd name="T88" fmla="*/ 475 w 2912"/>
                <a:gd name="T89" fmla="*/ 2422 h 2606"/>
                <a:gd name="T90" fmla="*/ 353 w 2912"/>
                <a:gd name="T91" fmla="*/ 2434 h 2606"/>
                <a:gd name="T92" fmla="*/ 414 w 2912"/>
                <a:gd name="T93" fmla="*/ 2434 h 2606"/>
                <a:gd name="T94" fmla="*/ 2072 w 2912"/>
                <a:gd name="T95" fmla="*/ 2273 h 2606"/>
                <a:gd name="T96" fmla="*/ 1506 w 2912"/>
                <a:gd name="T97" fmla="*/ 2258 h 2606"/>
                <a:gd name="T98" fmla="*/ 1827 w 2912"/>
                <a:gd name="T99" fmla="*/ 2280 h 2606"/>
                <a:gd name="T100" fmla="*/ 1888 w 2912"/>
                <a:gd name="T101" fmla="*/ 2511 h 2606"/>
                <a:gd name="T102" fmla="*/ 1943 w 2912"/>
                <a:gd name="T103" fmla="*/ 2274 h 2606"/>
                <a:gd name="T104" fmla="*/ 1888 w 2912"/>
                <a:gd name="T105" fmla="*/ 2310 h 2606"/>
                <a:gd name="T106" fmla="*/ 723 w 2912"/>
                <a:gd name="T107" fmla="*/ 2155 h 2606"/>
                <a:gd name="T108" fmla="*/ 1133 w 2912"/>
                <a:gd name="T109" fmla="*/ 2269 h 2606"/>
                <a:gd name="T110" fmla="*/ 1045 w 2912"/>
                <a:gd name="T111" fmla="*/ 2324 h 2606"/>
                <a:gd name="T112" fmla="*/ 1207 w 2912"/>
                <a:gd name="T113" fmla="*/ 2315 h 2606"/>
                <a:gd name="T114" fmla="*/ 1306 w 2912"/>
                <a:gd name="T115" fmla="*/ 2505 h 2606"/>
                <a:gd name="T116" fmla="*/ 1323 w 2912"/>
                <a:gd name="T117" fmla="*/ 2599 h 2606"/>
                <a:gd name="T118" fmla="*/ 1277 w 2912"/>
                <a:gd name="T119" fmla="*/ 2451 h 2606"/>
                <a:gd name="T120" fmla="*/ 937 w 2912"/>
                <a:gd name="T121" fmla="*/ 2367 h 2606"/>
                <a:gd name="T122" fmla="*/ 375 w 2912"/>
                <a:gd name="T123" fmla="*/ 1073 h 2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12" h="2606">
                  <a:moveTo>
                    <a:pt x="242" y="1964"/>
                  </a:moveTo>
                  <a:lnTo>
                    <a:pt x="242" y="1964"/>
                  </a:lnTo>
                  <a:lnTo>
                    <a:pt x="242" y="1956"/>
                  </a:lnTo>
                  <a:lnTo>
                    <a:pt x="241" y="1948"/>
                  </a:lnTo>
                  <a:lnTo>
                    <a:pt x="238" y="1934"/>
                  </a:lnTo>
                  <a:lnTo>
                    <a:pt x="233" y="1921"/>
                  </a:lnTo>
                  <a:lnTo>
                    <a:pt x="227" y="1911"/>
                  </a:lnTo>
                  <a:lnTo>
                    <a:pt x="220" y="1904"/>
                  </a:lnTo>
                  <a:lnTo>
                    <a:pt x="212" y="1898"/>
                  </a:lnTo>
                  <a:lnTo>
                    <a:pt x="206" y="1893"/>
                  </a:lnTo>
                  <a:lnTo>
                    <a:pt x="200" y="1889"/>
                  </a:lnTo>
                  <a:lnTo>
                    <a:pt x="200" y="1889"/>
                  </a:lnTo>
                  <a:lnTo>
                    <a:pt x="207" y="1883"/>
                  </a:lnTo>
                  <a:lnTo>
                    <a:pt x="213" y="1877"/>
                  </a:lnTo>
                  <a:lnTo>
                    <a:pt x="219" y="1870"/>
                  </a:lnTo>
                  <a:lnTo>
                    <a:pt x="224" y="1861"/>
                  </a:lnTo>
                  <a:lnTo>
                    <a:pt x="228" y="1852"/>
                  </a:lnTo>
                  <a:lnTo>
                    <a:pt x="230" y="1843"/>
                  </a:lnTo>
                  <a:lnTo>
                    <a:pt x="232" y="1833"/>
                  </a:lnTo>
                  <a:lnTo>
                    <a:pt x="232" y="1822"/>
                  </a:lnTo>
                  <a:lnTo>
                    <a:pt x="232" y="1822"/>
                  </a:lnTo>
                  <a:lnTo>
                    <a:pt x="232" y="1812"/>
                  </a:lnTo>
                  <a:lnTo>
                    <a:pt x="231" y="1802"/>
                  </a:lnTo>
                  <a:lnTo>
                    <a:pt x="229" y="1793"/>
                  </a:lnTo>
                  <a:lnTo>
                    <a:pt x="227" y="1785"/>
                  </a:lnTo>
                  <a:lnTo>
                    <a:pt x="224" y="1776"/>
                  </a:lnTo>
                  <a:lnTo>
                    <a:pt x="220" y="1769"/>
                  </a:lnTo>
                  <a:lnTo>
                    <a:pt x="214" y="1763"/>
                  </a:lnTo>
                  <a:lnTo>
                    <a:pt x="209" y="1756"/>
                  </a:lnTo>
                  <a:lnTo>
                    <a:pt x="203" y="1752"/>
                  </a:lnTo>
                  <a:lnTo>
                    <a:pt x="197" y="1747"/>
                  </a:lnTo>
                  <a:lnTo>
                    <a:pt x="189" y="1743"/>
                  </a:lnTo>
                  <a:lnTo>
                    <a:pt x="181" y="1739"/>
                  </a:lnTo>
                  <a:lnTo>
                    <a:pt x="173" y="1737"/>
                  </a:lnTo>
                  <a:lnTo>
                    <a:pt x="163" y="1734"/>
                  </a:lnTo>
                  <a:lnTo>
                    <a:pt x="154" y="1734"/>
                  </a:lnTo>
                  <a:lnTo>
                    <a:pt x="144" y="1733"/>
                  </a:lnTo>
                  <a:lnTo>
                    <a:pt x="21" y="1733"/>
                  </a:lnTo>
                  <a:lnTo>
                    <a:pt x="21" y="2072"/>
                  </a:lnTo>
                  <a:lnTo>
                    <a:pt x="143" y="2072"/>
                  </a:lnTo>
                  <a:lnTo>
                    <a:pt x="143" y="2072"/>
                  </a:lnTo>
                  <a:lnTo>
                    <a:pt x="154" y="2072"/>
                  </a:lnTo>
                  <a:lnTo>
                    <a:pt x="164" y="2071"/>
                  </a:lnTo>
                  <a:lnTo>
                    <a:pt x="175" y="2069"/>
                  </a:lnTo>
                  <a:lnTo>
                    <a:pt x="184" y="2065"/>
                  </a:lnTo>
                  <a:lnTo>
                    <a:pt x="194" y="2061"/>
                  </a:lnTo>
                  <a:lnTo>
                    <a:pt x="202" y="2056"/>
                  </a:lnTo>
                  <a:lnTo>
                    <a:pt x="209" y="2050"/>
                  </a:lnTo>
                  <a:lnTo>
                    <a:pt x="215" y="2044"/>
                  </a:lnTo>
                  <a:lnTo>
                    <a:pt x="222" y="2037"/>
                  </a:lnTo>
                  <a:lnTo>
                    <a:pt x="227" y="2028"/>
                  </a:lnTo>
                  <a:lnTo>
                    <a:pt x="232" y="2020"/>
                  </a:lnTo>
                  <a:lnTo>
                    <a:pt x="235" y="2010"/>
                  </a:lnTo>
                  <a:lnTo>
                    <a:pt x="238" y="2000"/>
                  </a:lnTo>
                  <a:lnTo>
                    <a:pt x="240" y="1989"/>
                  </a:lnTo>
                  <a:lnTo>
                    <a:pt x="241" y="1977"/>
                  </a:lnTo>
                  <a:lnTo>
                    <a:pt x="242" y="1964"/>
                  </a:lnTo>
                  <a:lnTo>
                    <a:pt x="242" y="1964"/>
                  </a:lnTo>
                  <a:close/>
                  <a:moveTo>
                    <a:pt x="143" y="2016"/>
                  </a:moveTo>
                  <a:lnTo>
                    <a:pt x="74" y="2016"/>
                  </a:lnTo>
                  <a:lnTo>
                    <a:pt x="74" y="1919"/>
                  </a:lnTo>
                  <a:lnTo>
                    <a:pt x="143" y="1919"/>
                  </a:lnTo>
                  <a:lnTo>
                    <a:pt x="143" y="1919"/>
                  </a:lnTo>
                  <a:lnTo>
                    <a:pt x="153" y="1920"/>
                  </a:lnTo>
                  <a:lnTo>
                    <a:pt x="161" y="1921"/>
                  </a:lnTo>
                  <a:lnTo>
                    <a:pt x="169" y="1925"/>
                  </a:lnTo>
                  <a:lnTo>
                    <a:pt x="175" y="1931"/>
                  </a:lnTo>
                  <a:lnTo>
                    <a:pt x="180" y="1937"/>
                  </a:lnTo>
                  <a:lnTo>
                    <a:pt x="183" y="1946"/>
                  </a:lnTo>
                  <a:lnTo>
                    <a:pt x="185" y="1956"/>
                  </a:lnTo>
                  <a:lnTo>
                    <a:pt x="186" y="1967"/>
                  </a:lnTo>
                  <a:lnTo>
                    <a:pt x="186" y="1967"/>
                  </a:lnTo>
                  <a:lnTo>
                    <a:pt x="185" y="1978"/>
                  </a:lnTo>
                  <a:lnTo>
                    <a:pt x="183" y="1988"/>
                  </a:lnTo>
                  <a:lnTo>
                    <a:pt x="179" y="1996"/>
                  </a:lnTo>
                  <a:lnTo>
                    <a:pt x="175" y="2002"/>
                  </a:lnTo>
                  <a:lnTo>
                    <a:pt x="169" y="2009"/>
                  </a:lnTo>
                  <a:lnTo>
                    <a:pt x="161" y="2012"/>
                  </a:lnTo>
                  <a:lnTo>
                    <a:pt x="152" y="2015"/>
                  </a:lnTo>
                  <a:lnTo>
                    <a:pt x="143" y="2016"/>
                  </a:lnTo>
                  <a:lnTo>
                    <a:pt x="143" y="2016"/>
                  </a:lnTo>
                  <a:close/>
                  <a:moveTo>
                    <a:pt x="142" y="1863"/>
                  </a:moveTo>
                  <a:lnTo>
                    <a:pt x="74" y="1863"/>
                  </a:lnTo>
                  <a:lnTo>
                    <a:pt x="74" y="1791"/>
                  </a:lnTo>
                  <a:lnTo>
                    <a:pt x="139" y="1791"/>
                  </a:lnTo>
                  <a:lnTo>
                    <a:pt x="139" y="1791"/>
                  </a:lnTo>
                  <a:lnTo>
                    <a:pt x="148" y="1792"/>
                  </a:lnTo>
                  <a:lnTo>
                    <a:pt x="156" y="1793"/>
                  </a:lnTo>
                  <a:lnTo>
                    <a:pt x="162" y="1796"/>
                  </a:lnTo>
                  <a:lnTo>
                    <a:pt x="168" y="1800"/>
                  </a:lnTo>
                  <a:lnTo>
                    <a:pt x="172" y="1806"/>
                  </a:lnTo>
                  <a:lnTo>
                    <a:pt x="175" y="1812"/>
                  </a:lnTo>
                  <a:lnTo>
                    <a:pt x="176" y="1819"/>
                  </a:lnTo>
                  <a:lnTo>
                    <a:pt x="177" y="1828"/>
                  </a:lnTo>
                  <a:lnTo>
                    <a:pt x="177" y="1828"/>
                  </a:lnTo>
                  <a:lnTo>
                    <a:pt x="177" y="1834"/>
                  </a:lnTo>
                  <a:lnTo>
                    <a:pt x="176" y="1840"/>
                  </a:lnTo>
                  <a:lnTo>
                    <a:pt x="174" y="1846"/>
                  </a:lnTo>
                  <a:lnTo>
                    <a:pt x="171" y="1851"/>
                  </a:lnTo>
                  <a:lnTo>
                    <a:pt x="165" y="1856"/>
                  </a:lnTo>
                  <a:lnTo>
                    <a:pt x="159" y="1860"/>
                  </a:lnTo>
                  <a:lnTo>
                    <a:pt x="152" y="1862"/>
                  </a:lnTo>
                  <a:lnTo>
                    <a:pt x="142" y="1863"/>
                  </a:lnTo>
                  <a:lnTo>
                    <a:pt x="142" y="1863"/>
                  </a:lnTo>
                  <a:close/>
                  <a:moveTo>
                    <a:pt x="279" y="1965"/>
                  </a:moveTo>
                  <a:lnTo>
                    <a:pt x="279" y="1825"/>
                  </a:lnTo>
                  <a:lnTo>
                    <a:pt x="331" y="1825"/>
                  </a:lnTo>
                  <a:lnTo>
                    <a:pt x="331" y="1962"/>
                  </a:lnTo>
                  <a:lnTo>
                    <a:pt x="331" y="1962"/>
                  </a:lnTo>
                  <a:lnTo>
                    <a:pt x="331" y="1975"/>
                  </a:lnTo>
                  <a:lnTo>
                    <a:pt x="333" y="1989"/>
                  </a:lnTo>
                  <a:lnTo>
                    <a:pt x="336" y="1999"/>
                  </a:lnTo>
                  <a:lnTo>
                    <a:pt x="340" y="2007"/>
                  </a:lnTo>
                  <a:lnTo>
                    <a:pt x="346" y="2013"/>
                  </a:lnTo>
                  <a:lnTo>
                    <a:pt x="352" y="2018"/>
                  </a:lnTo>
                  <a:lnTo>
                    <a:pt x="360" y="2021"/>
                  </a:lnTo>
                  <a:lnTo>
                    <a:pt x="369" y="2022"/>
                  </a:lnTo>
                  <a:lnTo>
                    <a:pt x="369" y="2022"/>
                  </a:lnTo>
                  <a:lnTo>
                    <a:pt x="379" y="2021"/>
                  </a:lnTo>
                  <a:lnTo>
                    <a:pt x="386" y="2018"/>
                  </a:lnTo>
                  <a:lnTo>
                    <a:pt x="393" y="2013"/>
                  </a:lnTo>
                  <a:lnTo>
                    <a:pt x="399" y="2007"/>
                  </a:lnTo>
                  <a:lnTo>
                    <a:pt x="403" y="1999"/>
                  </a:lnTo>
                  <a:lnTo>
                    <a:pt x="406" y="1988"/>
                  </a:lnTo>
                  <a:lnTo>
                    <a:pt x="408" y="1975"/>
                  </a:lnTo>
                  <a:lnTo>
                    <a:pt x="408" y="1962"/>
                  </a:lnTo>
                  <a:lnTo>
                    <a:pt x="408" y="1825"/>
                  </a:lnTo>
                  <a:lnTo>
                    <a:pt x="460" y="1825"/>
                  </a:lnTo>
                  <a:lnTo>
                    <a:pt x="460" y="2072"/>
                  </a:lnTo>
                  <a:lnTo>
                    <a:pt x="408" y="2072"/>
                  </a:lnTo>
                  <a:lnTo>
                    <a:pt x="408" y="2053"/>
                  </a:lnTo>
                  <a:lnTo>
                    <a:pt x="408" y="2053"/>
                  </a:lnTo>
                  <a:lnTo>
                    <a:pt x="404" y="2059"/>
                  </a:lnTo>
                  <a:lnTo>
                    <a:pt x="398" y="2064"/>
                  </a:lnTo>
                  <a:lnTo>
                    <a:pt x="392" y="2069"/>
                  </a:lnTo>
                  <a:lnTo>
                    <a:pt x="386" y="2071"/>
                  </a:lnTo>
                  <a:lnTo>
                    <a:pt x="380" y="2075"/>
                  </a:lnTo>
                  <a:lnTo>
                    <a:pt x="373" y="2076"/>
                  </a:lnTo>
                  <a:lnTo>
                    <a:pt x="365" y="2077"/>
                  </a:lnTo>
                  <a:lnTo>
                    <a:pt x="358" y="2079"/>
                  </a:lnTo>
                  <a:lnTo>
                    <a:pt x="358" y="2079"/>
                  </a:lnTo>
                  <a:lnTo>
                    <a:pt x="346" y="2077"/>
                  </a:lnTo>
                  <a:lnTo>
                    <a:pt x="335" y="2075"/>
                  </a:lnTo>
                  <a:lnTo>
                    <a:pt x="326" y="2071"/>
                  </a:lnTo>
                  <a:lnTo>
                    <a:pt x="316" y="2066"/>
                  </a:lnTo>
                  <a:lnTo>
                    <a:pt x="309" y="2060"/>
                  </a:lnTo>
                  <a:lnTo>
                    <a:pt x="303" y="2054"/>
                  </a:lnTo>
                  <a:lnTo>
                    <a:pt x="298" y="2045"/>
                  </a:lnTo>
                  <a:lnTo>
                    <a:pt x="292" y="2037"/>
                  </a:lnTo>
                  <a:lnTo>
                    <a:pt x="289" y="2028"/>
                  </a:lnTo>
                  <a:lnTo>
                    <a:pt x="286" y="2020"/>
                  </a:lnTo>
                  <a:lnTo>
                    <a:pt x="282" y="2000"/>
                  </a:lnTo>
                  <a:lnTo>
                    <a:pt x="280" y="1981"/>
                  </a:lnTo>
                  <a:lnTo>
                    <a:pt x="279" y="1965"/>
                  </a:lnTo>
                  <a:lnTo>
                    <a:pt x="279" y="1965"/>
                  </a:lnTo>
                  <a:close/>
                  <a:moveTo>
                    <a:pt x="1070" y="2072"/>
                  </a:moveTo>
                  <a:lnTo>
                    <a:pt x="1018" y="2072"/>
                  </a:lnTo>
                  <a:lnTo>
                    <a:pt x="1018" y="1825"/>
                  </a:lnTo>
                  <a:lnTo>
                    <a:pt x="1070" y="1825"/>
                  </a:lnTo>
                  <a:lnTo>
                    <a:pt x="1070" y="1846"/>
                  </a:lnTo>
                  <a:lnTo>
                    <a:pt x="1070" y="1846"/>
                  </a:lnTo>
                  <a:lnTo>
                    <a:pt x="1075" y="1840"/>
                  </a:lnTo>
                  <a:lnTo>
                    <a:pt x="1080" y="1834"/>
                  </a:lnTo>
                  <a:lnTo>
                    <a:pt x="1087" y="1830"/>
                  </a:lnTo>
                  <a:lnTo>
                    <a:pt x="1093" y="1827"/>
                  </a:lnTo>
                  <a:lnTo>
                    <a:pt x="1100" y="1823"/>
                  </a:lnTo>
                  <a:lnTo>
                    <a:pt x="1106" y="1822"/>
                  </a:lnTo>
                  <a:lnTo>
                    <a:pt x="1115" y="1820"/>
                  </a:lnTo>
                  <a:lnTo>
                    <a:pt x="1122" y="1819"/>
                  </a:lnTo>
                  <a:lnTo>
                    <a:pt x="1122" y="1819"/>
                  </a:lnTo>
                  <a:lnTo>
                    <a:pt x="1131" y="1820"/>
                  </a:lnTo>
                  <a:lnTo>
                    <a:pt x="1140" y="1822"/>
                  </a:lnTo>
                  <a:lnTo>
                    <a:pt x="1148" y="1824"/>
                  </a:lnTo>
                  <a:lnTo>
                    <a:pt x="1155" y="1827"/>
                  </a:lnTo>
                  <a:lnTo>
                    <a:pt x="1163" y="1830"/>
                  </a:lnTo>
                  <a:lnTo>
                    <a:pt x="1169" y="1836"/>
                  </a:lnTo>
                  <a:lnTo>
                    <a:pt x="1174" y="1841"/>
                  </a:lnTo>
                  <a:lnTo>
                    <a:pt x="1179" y="1849"/>
                  </a:lnTo>
                  <a:lnTo>
                    <a:pt x="1184" y="1856"/>
                  </a:lnTo>
                  <a:lnTo>
                    <a:pt x="1187" y="1865"/>
                  </a:lnTo>
                  <a:lnTo>
                    <a:pt x="1192" y="1873"/>
                  </a:lnTo>
                  <a:lnTo>
                    <a:pt x="1194" y="1883"/>
                  </a:lnTo>
                  <a:lnTo>
                    <a:pt x="1196" y="1894"/>
                  </a:lnTo>
                  <a:lnTo>
                    <a:pt x="1198" y="1906"/>
                  </a:lnTo>
                  <a:lnTo>
                    <a:pt x="1199" y="1919"/>
                  </a:lnTo>
                  <a:lnTo>
                    <a:pt x="1199" y="1932"/>
                  </a:lnTo>
                  <a:lnTo>
                    <a:pt x="1199" y="2072"/>
                  </a:lnTo>
                  <a:lnTo>
                    <a:pt x="1147" y="2072"/>
                  </a:lnTo>
                  <a:lnTo>
                    <a:pt x="1147" y="1936"/>
                  </a:lnTo>
                  <a:lnTo>
                    <a:pt x="1147" y="1936"/>
                  </a:lnTo>
                  <a:lnTo>
                    <a:pt x="1147" y="1921"/>
                  </a:lnTo>
                  <a:lnTo>
                    <a:pt x="1145" y="1909"/>
                  </a:lnTo>
                  <a:lnTo>
                    <a:pt x="1142" y="1899"/>
                  </a:lnTo>
                  <a:lnTo>
                    <a:pt x="1138" y="1890"/>
                  </a:lnTo>
                  <a:lnTo>
                    <a:pt x="1132" y="1884"/>
                  </a:lnTo>
                  <a:lnTo>
                    <a:pt x="1126" y="1879"/>
                  </a:lnTo>
                  <a:lnTo>
                    <a:pt x="1119" y="1877"/>
                  </a:lnTo>
                  <a:lnTo>
                    <a:pt x="1109" y="1876"/>
                  </a:lnTo>
                  <a:lnTo>
                    <a:pt x="1109" y="1876"/>
                  </a:lnTo>
                  <a:lnTo>
                    <a:pt x="1100" y="1877"/>
                  </a:lnTo>
                  <a:lnTo>
                    <a:pt x="1092" y="1879"/>
                  </a:lnTo>
                  <a:lnTo>
                    <a:pt x="1085" y="1884"/>
                  </a:lnTo>
                  <a:lnTo>
                    <a:pt x="1080" y="1890"/>
                  </a:lnTo>
                  <a:lnTo>
                    <a:pt x="1075" y="1899"/>
                  </a:lnTo>
                  <a:lnTo>
                    <a:pt x="1072" y="1910"/>
                  </a:lnTo>
                  <a:lnTo>
                    <a:pt x="1070" y="1922"/>
                  </a:lnTo>
                  <a:lnTo>
                    <a:pt x="1070" y="1936"/>
                  </a:lnTo>
                  <a:lnTo>
                    <a:pt x="1070" y="2072"/>
                  </a:lnTo>
                  <a:close/>
                  <a:moveTo>
                    <a:pt x="559" y="1948"/>
                  </a:moveTo>
                  <a:lnTo>
                    <a:pt x="559" y="2072"/>
                  </a:lnTo>
                  <a:lnTo>
                    <a:pt x="507" y="2072"/>
                  </a:lnTo>
                  <a:lnTo>
                    <a:pt x="507" y="1825"/>
                  </a:lnTo>
                  <a:lnTo>
                    <a:pt x="559" y="1825"/>
                  </a:lnTo>
                  <a:lnTo>
                    <a:pt x="559" y="1948"/>
                  </a:lnTo>
                  <a:close/>
                  <a:moveTo>
                    <a:pt x="605" y="1753"/>
                  </a:moveTo>
                  <a:lnTo>
                    <a:pt x="657" y="1722"/>
                  </a:lnTo>
                  <a:lnTo>
                    <a:pt x="657" y="1946"/>
                  </a:lnTo>
                  <a:lnTo>
                    <a:pt x="657" y="2072"/>
                  </a:lnTo>
                  <a:lnTo>
                    <a:pt x="605" y="2072"/>
                  </a:lnTo>
                  <a:lnTo>
                    <a:pt x="605" y="1753"/>
                  </a:lnTo>
                  <a:close/>
                  <a:moveTo>
                    <a:pt x="821" y="1843"/>
                  </a:moveTo>
                  <a:lnTo>
                    <a:pt x="821" y="1843"/>
                  </a:lnTo>
                  <a:lnTo>
                    <a:pt x="817" y="1836"/>
                  </a:lnTo>
                  <a:lnTo>
                    <a:pt x="812" y="1833"/>
                  </a:lnTo>
                  <a:lnTo>
                    <a:pt x="806" y="1828"/>
                  </a:lnTo>
                  <a:lnTo>
                    <a:pt x="800" y="1825"/>
                  </a:lnTo>
                  <a:lnTo>
                    <a:pt x="794" y="1823"/>
                  </a:lnTo>
                  <a:lnTo>
                    <a:pt x="788" y="1820"/>
                  </a:lnTo>
                  <a:lnTo>
                    <a:pt x="775" y="1819"/>
                  </a:lnTo>
                  <a:lnTo>
                    <a:pt x="775" y="1819"/>
                  </a:lnTo>
                  <a:lnTo>
                    <a:pt x="766" y="1820"/>
                  </a:lnTo>
                  <a:lnTo>
                    <a:pt x="757" y="1822"/>
                  </a:lnTo>
                  <a:lnTo>
                    <a:pt x="748" y="1824"/>
                  </a:lnTo>
                  <a:lnTo>
                    <a:pt x="741" y="1828"/>
                  </a:lnTo>
                  <a:lnTo>
                    <a:pt x="734" y="1833"/>
                  </a:lnTo>
                  <a:lnTo>
                    <a:pt x="726" y="1839"/>
                  </a:lnTo>
                  <a:lnTo>
                    <a:pt x="720" y="1846"/>
                  </a:lnTo>
                  <a:lnTo>
                    <a:pt x="715" y="1854"/>
                  </a:lnTo>
                  <a:lnTo>
                    <a:pt x="710" y="1862"/>
                  </a:lnTo>
                  <a:lnTo>
                    <a:pt x="706" y="1872"/>
                  </a:lnTo>
                  <a:lnTo>
                    <a:pt x="701" y="1882"/>
                  </a:lnTo>
                  <a:lnTo>
                    <a:pt x="698" y="1893"/>
                  </a:lnTo>
                  <a:lnTo>
                    <a:pt x="696" y="1905"/>
                  </a:lnTo>
                  <a:lnTo>
                    <a:pt x="694" y="1919"/>
                  </a:lnTo>
                  <a:lnTo>
                    <a:pt x="693" y="1932"/>
                  </a:lnTo>
                  <a:lnTo>
                    <a:pt x="693" y="1946"/>
                  </a:lnTo>
                  <a:lnTo>
                    <a:pt x="693" y="1946"/>
                  </a:lnTo>
                  <a:lnTo>
                    <a:pt x="693" y="1962"/>
                  </a:lnTo>
                  <a:lnTo>
                    <a:pt x="694" y="1975"/>
                  </a:lnTo>
                  <a:lnTo>
                    <a:pt x="696" y="1989"/>
                  </a:lnTo>
                  <a:lnTo>
                    <a:pt x="698" y="2001"/>
                  </a:lnTo>
                  <a:lnTo>
                    <a:pt x="701" y="2013"/>
                  </a:lnTo>
                  <a:lnTo>
                    <a:pt x="705" y="2024"/>
                  </a:lnTo>
                  <a:lnTo>
                    <a:pt x="709" y="2034"/>
                  </a:lnTo>
                  <a:lnTo>
                    <a:pt x="714" y="2043"/>
                  </a:lnTo>
                  <a:lnTo>
                    <a:pt x="720" y="2052"/>
                  </a:lnTo>
                  <a:lnTo>
                    <a:pt x="725" y="2058"/>
                  </a:lnTo>
                  <a:lnTo>
                    <a:pt x="733" y="2064"/>
                  </a:lnTo>
                  <a:lnTo>
                    <a:pt x="740" y="2069"/>
                  </a:lnTo>
                  <a:lnTo>
                    <a:pt x="747" y="2072"/>
                  </a:lnTo>
                  <a:lnTo>
                    <a:pt x="756" y="2076"/>
                  </a:lnTo>
                  <a:lnTo>
                    <a:pt x="765" y="2077"/>
                  </a:lnTo>
                  <a:lnTo>
                    <a:pt x="774" y="2079"/>
                  </a:lnTo>
                  <a:lnTo>
                    <a:pt x="774" y="2079"/>
                  </a:lnTo>
                  <a:lnTo>
                    <a:pt x="781" y="2077"/>
                  </a:lnTo>
                  <a:lnTo>
                    <a:pt x="787" y="2076"/>
                  </a:lnTo>
                  <a:lnTo>
                    <a:pt x="793" y="2075"/>
                  </a:lnTo>
                  <a:lnTo>
                    <a:pt x="799" y="2072"/>
                  </a:lnTo>
                  <a:lnTo>
                    <a:pt x="804" y="2069"/>
                  </a:lnTo>
                  <a:lnTo>
                    <a:pt x="811" y="2065"/>
                  </a:lnTo>
                  <a:lnTo>
                    <a:pt x="816" y="2060"/>
                  </a:lnTo>
                  <a:lnTo>
                    <a:pt x="821" y="2054"/>
                  </a:lnTo>
                  <a:lnTo>
                    <a:pt x="821" y="2072"/>
                  </a:lnTo>
                  <a:lnTo>
                    <a:pt x="873" y="2072"/>
                  </a:lnTo>
                  <a:lnTo>
                    <a:pt x="873" y="1722"/>
                  </a:lnTo>
                  <a:lnTo>
                    <a:pt x="821" y="1753"/>
                  </a:lnTo>
                  <a:lnTo>
                    <a:pt x="821" y="1843"/>
                  </a:lnTo>
                  <a:close/>
                  <a:moveTo>
                    <a:pt x="785" y="2022"/>
                  </a:moveTo>
                  <a:lnTo>
                    <a:pt x="785" y="2022"/>
                  </a:lnTo>
                  <a:lnTo>
                    <a:pt x="778" y="2021"/>
                  </a:lnTo>
                  <a:lnTo>
                    <a:pt x="771" y="2018"/>
                  </a:lnTo>
                  <a:lnTo>
                    <a:pt x="765" y="2015"/>
                  </a:lnTo>
                  <a:lnTo>
                    <a:pt x="759" y="2007"/>
                  </a:lnTo>
                  <a:lnTo>
                    <a:pt x="753" y="1997"/>
                  </a:lnTo>
                  <a:lnTo>
                    <a:pt x="749" y="1984"/>
                  </a:lnTo>
                  <a:lnTo>
                    <a:pt x="746" y="1967"/>
                  </a:lnTo>
                  <a:lnTo>
                    <a:pt x="745" y="1945"/>
                  </a:lnTo>
                  <a:lnTo>
                    <a:pt x="745" y="1945"/>
                  </a:lnTo>
                  <a:lnTo>
                    <a:pt x="746" y="1925"/>
                  </a:lnTo>
                  <a:lnTo>
                    <a:pt x="749" y="1910"/>
                  </a:lnTo>
                  <a:lnTo>
                    <a:pt x="753" y="1898"/>
                  </a:lnTo>
                  <a:lnTo>
                    <a:pt x="759" y="1889"/>
                  </a:lnTo>
                  <a:lnTo>
                    <a:pt x="764" y="1882"/>
                  </a:lnTo>
                  <a:lnTo>
                    <a:pt x="771" y="1878"/>
                  </a:lnTo>
                  <a:lnTo>
                    <a:pt x="777" y="1876"/>
                  </a:lnTo>
                  <a:lnTo>
                    <a:pt x="785" y="1876"/>
                  </a:lnTo>
                  <a:lnTo>
                    <a:pt x="785" y="1876"/>
                  </a:lnTo>
                  <a:lnTo>
                    <a:pt x="791" y="1876"/>
                  </a:lnTo>
                  <a:lnTo>
                    <a:pt x="797" y="1878"/>
                  </a:lnTo>
                  <a:lnTo>
                    <a:pt x="803" y="1881"/>
                  </a:lnTo>
                  <a:lnTo>
                    <a:pt x="808" y="1884"/>
                  </a:lnTo>
                  <a:lnTo>
                    <a:pt x="812" y="1888"/>
                  </a:lnTo>
                  <a:lnTo>
                    <a:pt x="816" y="1892"/>
                  </a:lnTo>
                  <a:lnTo>
                    <a:pt x="821" y="1900"/>
                  </a:lnTo>
                  <a:lnTo>
                    <a:pt x="821" y="1997"/>
                  </a:lnTo>
                  <a:lnTo>
                    <a:pt x="821" y="1997"/>
                  </a:lnTo>
                  <a:lnTo>
                    <a:pt x="815" y="2006"/>
                  </a:lnTo>
                  <a:lnTo>
                    <a:pt x="808" y="2013"/>
                  </a:lnTo>
                  <a:lnTo>
                    <a:pt x="803" y="2017"/>
                  </a:lnTo>
                  <a:lnTo>
                    <a:pt x="797" y="2020"/>
                  </a:lnTo>
                  <a:lnTo>
                    <a:pt x="792" y="2021"/>
                  </a:lnTo>
                  <a:lnTo>
                    <a:pt x="785" y="2022"/>
                  </a:lnTo>
                  <a:lnTo>
                    <a:pt x="785" y="2022"/>
                  </a:lnTo>
                  <a:close/>
                  <a:moveTo>
                    <a:pt x="1951" y="1819"/>
                  </a:moveTo>
                  <a:lnTo>
                    <a:pt x="1951" y="1819"/>
                  </a:lnTo>
                  <a:lnTo>
                    <a:pt x="1946" y="1820"/>
                  </a:lnTo>
                  <a:lnTo>
                    <a:pt x="1940" y="1822"/>
                  </a:lnTo>
                  <a:lnTo>
                    <a:pt x="1927" y="1825"/>
                  </a:lnTo>
                  <a:lnTo>
                    <a:pt x="1916" y="1833"/>
                  </a:lnTo>
                  <a:lnTo>
                    <a:pt x="1906" y="1843"/>
                  </a:lnTo>
                  <a:lnTo>
                    <a:pt x="1906" y="1728"/>
                  </a:lnTo>
                  <a:lnTo>
                    <a:pt x="1854" y="1759"/>
                  </a:lnTo>
                  <a:lnTo>
                    <a:pt x="1854" y="2072"/>
                  </a:lnTo>
                  <a:lnTo>
                    <a:pt x="1906" y="2072"/>
                  </a:lnTo>
                  <a:lnTo>
                    <a:pt x="1906" y="2054"/>
                  </a:lnTo>
                  <a:lnTo>
                    <a:pt x="1906" y="2054"/>
                  </a:lnTo>
                  <a:lnTo>
                    <a:pt x="1910" y="2060"/>
                  </a:lnTo>
                  <a:lnTo>
                    <a:pt x="1916" y="2065"/>
                  </a:lnTo>
                  <a:lnTo>
                    <a:pt x="1921" y="2069"/>
                  </a:lnTo>
                  <a:lnTo>
                    <a:pt x="1927" y="2072"/>
                  </a:lnTo>
                  <a:lnTo>
                    <a:pt x="1933" y="2075"/>
                  </a:lnTo>
                  <a:lnTo>
                    <a:pt x="1940" y="2076"/>
                  </a:lnTo>
                  <a:lnTo>
                    <a:pt x="1946" y="2077"/>
                  </a:lnTo>
                  <a:lnTo>
                    <a:pt x="1952" y="2079"/>
                  </a:lnTo>
                  <a:lnTo>
                    <a:pt x="1952" y="2079"/>
                  </a:lnTo>
                  <a:lnTo>
                    <a:pt x="1962" y="2077"/>
                  </a:lnTo>
                  <a:lnTo>
                    <a:pt x="1971" y="2076"/>
                  </a:lnTo>
                  <a:lnTo>
                    <a:pt x="1979" y="2074"/>
                  </a:lnTo>
                  <a:lnTo>
                    <a:pt x="1988" y="2069"/>
                  </a:lnTo>
                  <a:lnTo>
                    <a:pt x="1995" y="2064"/>
                  </a:lnTo>
                  <a:lnTo>
                    <a:pt x="2001" y="2059"/>
                  </a:lnTo>
                  <a:lnTo>
                    <a:pt x="2008" y="2052"/>
                  </a:lnTo>
                  <a:lnTo>
                    <a:pt x="2013" y="2044"/>
                  </a:lnTo>
                  <a:lnTo>
                    <a:pt x="2018" y="2034"/>
                  </a:lnTo>
                  <a:lnTo>
                    <a:pt x="2022" y="2024"/>
                  </a:lnTo>
                  <a:lnTo>
                    <a:pt x="2025" y="2013"/>
                  </a:lnTo>
                  <a:lnTo>
                    <a:pt x="2028" y="2002"/>
                  </a:lnTo>
                  <a:lnTo>
                    <a:pt x="2032" y="1990"/>
                  </a:lnTo>
                  <a:lnTo>
                    <a:pt x="2033" y="1977"/>
                  </a:lnTo>
                  <a:lnTo>
                    <a:pt x="2034" y="1962"/>
                  </a:lnTo>
                  <a:lnTo>
                    <a:pt x="2035" y="1946"/>
                  </a:lnTo>
                  <a:lnTo>
                    <a:pt x="2035" y="1946"/>
                  </a:lnTo>
                  <a:lnTo>
                    <a:pt x="2034" y="1932"/>
                  </a:lnTo>
                  <a:lnTo>
                    <a:pt x="2033" y="1919"/>
                  </a:lnTo>
                  <a:lnTo>
                    <a:pt x="2030" y="1905"/>
                  </a:lnTo>
                  <a:lnTo>
                    <a:pt x="2028" y="1893"/>
                  </a:lnTo>
                  <a:lnTo>
                    <a:pt x="2025" y="1882"/>
                  </a:lnTo>
                  <a:lnTo>
                    <a:pt x="2021" y="1872"/>
                  </a:lnTo>
                  <a:lnTo>
                    <a:pt x="2017" y="1862"/>
                  </a:lnTo>
                  <a:lnTo>
                    <a:pt x="2012" y="1854"/>
                  </a:lnTo>
                  <a:lnTo>
                    <a:pt x="2007" y="1846"/>
                  </a:lnTo>
                  <a:lnTo>
                    <a:pt x="2000" y="1839"/>
                  </a:lnTo>
                  <a:lnTo>
                    <a:pt x="1993" y="1833"/>
                  </a:lnTo>
                  <a:lnTo>
                    <a:pt x="1986" y="1828"/>
                  </a:lnTo>
                  <a:lnTo>
                    <a:pt x="1978" y="1824"/>
                  </a:lnTo>
                  <a:lnTo>
                    <a:pt x="1970" y="1822"/>
                  </a:lnTo>
                  <a:lnTo>
                    <a:pt x="1961" y="1820"/>
                  </a:lnTo>
                  <a:lnTo>
                    <a:pt x="1951" y="1819"/>
                  </a:lnTo>
                  <a:lnTo>
                    <a:pt x="1951" y="1819"/>
                  </a:lnTo>
                  <a:close/>
                  <a:moveTo>
                    <a:pt x="1942" y="1876"/>
                  </a:moveTo>
                  <a:lnTo>
                    <a:pt x="1942" y="1876"/>
                  </a:lnTo>
                  <a:lnTo>
                    <a:pt x="1949" y="1877"/>
                  </a:lnTo>
                  <a:lnTo>
                    <a:pt x="1957" y="1879"/>
                  </a:lnTo>
                  <a:lnTo>
                    <a:pt x="1963" y="1884"/>
                  </a:lnTo>
                  <a:lnTo>
                    <a:pt x="1969" y="1892"/>
                  </a:lnTo>
                  <a:lnTo>
                    <a:pt x="1974" y="1900"/>
                  </a:lnTo>
                  <a:lnTo>
                    <a:pt x="1977" y="1913"/>
                  </a:lnTo>
                  <a:lnTo>
                    <a:pt x="1981" y="1927"/>
                  </a:lnTo>
                  <a:lnTo>
                    <a:pt x="1982" y="1945"/>
                  </a:lnTo>
                  <a:lnTo>
                    <a:pt x="1982" y="1945"/>
                  </a:lnTo>
                  <a:lnTo>
                    <a:pt x="1981" y="1963"/>
                  </a:lnTo>
                  <a:lnTo>
                    <a:pt x="1978" y="1979"/>
                  </a:lnTo>
                  <a:lnTo>
                    <a:pt x="1976" y="1991"/>
                  </a:lnTo>
                  <a:lnTo>
                    <a:pt x="1972" y="2002"/>
                  </a:lnTo>
                  <a:lnTo>
                    <a:pt x="1966" y="2011"/>
                  </a:lnTo>
                  <a:lnTo>
                    <a:pt x="1960" y="2017"/>
                  </a:lnTo>
                  <a:lnTo>
                    <a:pt x="1952" y="2021"/>
                  </a:lnTo>
                  <a:lnTo>
                    <a:pt x="1943" y="2022"/>
                  </a:lnTo>
                  <a:lnTo>
                    <a:pt x="1943" y="2022"/>
                  </a:lnTo>
                  <a:lnTo>
                    <a:pt x="1936" y="2021"/>
                  </a:lnTo>
                  <a:lnTo>
                    <a:pt x="1930" y="2020"/>
                  </a:lnTo>
                  <a:lnTo>
                    <a:pt x="1924" y="2016"/>
                  </a:lnTo>
                  <a:lnTo>
                    <a:pt x="1919" y="2013"/>
                  </a:lnTo>
                  <a:lnTo>
                    <a:pt x="1911" y="2005"/>
                  </a:lnTo>
                  <a:lnTo>
                    <a:pt x="1906" y="1999"/>
                  </a:lnTo>
                  <a:lnTo>
                    <a:pt x="1906" y="1900"/>
                  </a:lnTo>
                  <a:lnTo>
                    <a:pt x="1906" y="1900"/>
                  </a:lnTo>
                  <a:lnTo>
                    <a:pt x="1909" y="1895"/>
                  </a:lnTo>
                  <a:lnTo>
                    <a:pt x="1913" y="1890"/>
                  </a:lnTo>
                  <a:lnTo>
                    <a:pt x="1917" y="1886"/>
                  </a:lnTo>
                  <a:lnTo>
                    <a:pt x="1921" y="1882"/>
                  </a:lnTo>
                  <a:lnTo>
                    <a:pt x="1926" y="1879"/>
                  </a:lnTo>
                  <a:lnTo>
                    <a:pt x="1932" y="1877"/>
                  </a:lnTo>
                  <a:lnTo>
                    <a:pt x="1937" y="1876"/>
                  </a:lnTo>
                  <a:lnTo>
                    <a:pt x="1942" y="1876"/>
                  </a:lnTo>
                  <a:lnTo>
                    <a:pt x="1942" y="1876"/>
                  </a:lnTo>
                  <a:close/>
                  <a:moveTo>
                    <a:pt x="1362" y="1843"/>
                  </a:moveTo>
                  <a:lnTo>
                    <a:pt x="1362" y="1843"/>
                  </a:lnTo>
                  <a:lnTo>
                    <a:pt x="1358" y="1838"/>
                  </a:lnTo>
                  <a:lnTo>
                    <a:pt x="1353" y="1833"/>
                  </a:lnTo>
                  <a:lnTo>
                    <a:pt x="1347" y="1829"/>
                  </a:lnTo>
                  <a:lnTo>
                    <a:pt x="1342" y="1825"/>
                  </a:lnTo>
                  <a:lnTo>
                    <a:pt x="1335" y="1823"/>
                  </a:lnTo>
                  <a:lnTo>
                    <a:pt x="1329" y="1820"/>
                  </a:lnTo>
                  <a:lnTo>
                    <a:pt x="1323" y="1820"/>
                  </a:lnTo>
                  <a:lnTo>
                    <a:pt x="1317" y="1819"/>
                  </a:lnTo>
                  <a:lnTo>
                    <a:pt x="1317" y="1819"/>
                  </a:lnTo>
                  <a:lnTo>
                    <a:pt x="1307" y="1820"/>
                  </a:lnTo>
                  <a:lnTo>
                    <a:pt x="1298" y="1822"/>
                  </a:lnTo>
                  <a:lnTo>
                    <a:pt x="1289" y="1824"/>
                  </a:lnTo>
                  <a:lnTo>
                    <a:pt x="1282" y="1828"/>
                  </a:lnTo>
                  <a:lnTo>
                    <a:pt x="1275" y="1833"/>
                  </a:lnTo>
                  <a:lnTo>
                    <a:pt x="1268" y="1839"/>
                  </a:lnTo>
                  <a:lnTo>
                    <a:pt x="1261" y="1846"/>
                  </a:lnTo>
                  <a:lnTo>
                    <a:pt x="1256" y="1854"/>
                  </a:lnTo>
                  <a:lnTo>
                    <a:pt x="1251" y="1862"/>
                  </a:lnTo>
                  <a:lnTo>
                    <a:pt x="1247" y="1872"/>
                  </a:lnTo>
                  <a:lnTo>
                    <a:pt x="1243" y="1882"/>
                  </a:lnTo>
                  <a:lnTo>
                    <a:pt x="1240" y="1893"/>
                  </a:lnTo>
                  <a:lnTo>
                    <a:pt x="1237" y="1905"/>
                  </a:lnTo>
                  <a:lnTo>
                    <a:pt x="1235" y="1919"/>
                  </a:lnTo>
                  <a:lnTo>
                    <a:pt x="1234" y="1932"/>
                  </a:lnTo>
                  <a:lnTo>
                    <a:pt x="1234" y="1946"/>
                  </a:lnTo>
                  <a:lnTo>
                    <a:pt x="1234" y="1946"/>
                  </a:lnTo>
                  <a:lnTo>
                    <a:pt x="1234" y="1962"/>
                  </a:lnTo>
                  <a:lnTo>
                    <a:pt x="1235" y="1975"/>
                  </a:lnTo>
                  <a:lnTo>
                    <a:pt x="1237" y="1989"/>
                  </a:lnTo>
                  <a:lnTo>
                    <a:pt x="1240" y="2001"/>
                  </a:lnTo>
                  <a:lnTo>
                    <a:pt x="1243" y="2013"/>
                  </a:lnTo>
                  <a:lnTo>
                    <a:pt x="1246" y="2024"/>
                  </a:lnTo>
                  <a:lnTo>
                    <a:pt x="1251" y="2034"/>
                  </a:lnTo>
                  <a:lnTo>
                    <a:pt x="1255" y="2043"/>
                  </a:lnTo>
                  <a:lnTo>
                    <a:pt x="1261" y="2052"/>
                  </a:lnTo>
                  <a:lnTo>
                    <a:pt x="1267" y="2058"/>
                  </a:lnTo>
                  <a:lnTo>
                    <a:pt x="1274" y="2064"/>
                  </a:lnTo>
                  <a:lnTo>
                    <a:pt x="1281" y="2069"/>
                  </a:lnTo>
                  <a:lnTo>
                    <a:pt x="1288" y="2072"/>
                  </a:lnTo>
                  <a:lnTo>
                    <a:pt x="1297" y="2076"/>
                  </a:lnTo>
                  <a:lnTo>
                    <a:pt x="1306" y="2077"/>
                  </a:lnTo>
                  <a:lnTo>
                    <a:pt x="1315" y="2077"/>
                  </a:lnTo>
                  <a:lnTo>
                    <a:pt x="1315" y="2077"/>
                  </a:lnTo>
                  <a:lnTo>
                    <a:pt x="1322" y="2077"/>
                  </a:lnTo>
                  <a:lnTo>
                    <a:pt x="1328" y="2076"/>
                  </a:lnTo>
                  <a:lnTo>
                    <a:pt x="1334" y="2075"/>
                  </a:lnTo>
                  <a:lnTo>
                    <a:pt x="1340" y="2072"/>
                  </a:lnTo>
                  <a:lnTo>
                    <a:pt x="1347" y="2069"/>
                  </a:lnTo>
                  <a:lnTo>
                    <a:pt x="1352" y="2064"/>
                  </a:lnTo>
                  <a:lnTo>
                    <a:pt x="1357" y="2060"/>
                  </a:lnTo>
                  <a:lnTo>
                    <a:pt x="1362" y="2054"/>
                  </a:lnTo>
                  <a:lnTo>
                    <a:pt x="1362" y="2060"/>
                  </a:lnTo>
                  <a:lnTo>
                    <a:pt x="1362" y="2060"/>
                  </a:lnTo>
                  <a:lnTo>
                    <a:pt x="1362" y="2070"/>
                  </a:lnTo>
                  <a:lnTo>
                    <a:pt x="1361" y="2081"/>
                  </a:lnTo>
                  <a:lnTo>
                    <a:pt x="1359" y="2092"/>
                  </a:lnTo>
                  <a:lnTo>
                    <a:pt x="1357" y="2097"/>
                  </a:lnTo>
                  <a:lnTo>
                    <a:pt x="1354" y="2102"/>
                  </a:lnTo>
                  <a:lnTo>
                    <a:pt x="1351" y="2107"/>
                  </a:lnTo>
                  <a:lnTo>
                    <a:pt x="1347" y="2112"/>
                  </a:lnTo>
                  <a:lnTo>
                    <a:pt x="1340" y="2115"/>
                  </a:lnTo>
                  <a:lnTo>
                    <a:pt x="1334" y="2118"/>
                  </a:lnTo>
                  <a:lnTo>
                    <a:pt x="1327" y="2122"/>
                  </a:lnTo>
                  <a:lnTo>
                    <a:pt x="1318" y="2123"/>
                  </a:lnTo>
                  <a:lnTo>
                    <a:pt x="1307" y="2125"/>
                  </a:lnTo>
                  <a:lnTo>
                    <a:pt x="1296" y="2125"/>
                  </a:lnTo>
                  <a:lnTo>
                    <a:pt x="1294" y="2125"/>
                  </a:lnTo>
                  <a:lnTo>
                    <a:pt x="1311" y="2173"/>
                  </a:lnTo>
                  <a:lnTo>
                    <a:pt x="1312" y="2173"/>
                  </a:lnTo>
                  <a:lnTo>
                    <a:pt x="1312" y="2173"/>
                  </a:lnTo>
                  <a:lnTo>
                    <a:pt x="1325" y="2173"/>
                  </a:lnTo>
                  <a:lnTo>
                    <a:pt x="1336" y="2171"/>
                  </a:lnTo>
                  <a:lnTo>
                    <a:pt x="1348" y="2168"/>
                  </a:lnTo>
                  <a:lnTo>
                    <a:pt x="1357" y="2165"/>
                  </a:lnTo>
                  <a:lnTo>
                    <a:pt x="1366" y="2161"/>
                  </a:lnTo>
                  <a:lnTo>
                    <a:pt x="1375" y="2156"/>
                  </a:lnTo>
                  <a:lnTo>
                    <a:pt x="1382" y="2149"/>
                  </a:lnTo>
                  <a:lnTo>
                    <a:pt x="1389" y="2143"/>
                  </a:lnTo>
                  <a:lnTo>
                    <a:pt x="1396" y="2134"/>
                  </a:lnTo>
                  <a:lnTo>
                    <a:pt x="1400" y="2124"/>
                  </a:lnTo>
                  <a:lnTo>
                    <a:pt x="1405" y="2114"/>
                  </a:lnTo>
                  <a:lnTo>
                    <a:pt x="1408" y="2103"/>
                  </a:lnTo>
                  <a:lnTo>
                    <a:pt x="1411" y="2091"/>
                  </a:lnTo>
                  <a:lnTo>
                    <a:pt x="1413" y="2079"/>
                  </a:lnTo>
                  <a:lnTo>
                    <a:pt x="1414" y="2065"/>
                  </a:lnTo>
                  <a:lnTo>
                    <a:pt x="1414" y="2049"/>
                  </a:lnTo>
                  <a:lnTo>
                    <a:pt x="1414" y="1825"/>
                  </a:lnTo>
                  <a:lnTo>
                    <a:pt x="1362" y="1825"/>
                  </a:lnTo>
                  <a:lnTo>
                    <a:pt x="1362" y="1843"/>
                  </a:lnTo>
                  <a:close/>
                  <a:moveTo>
                    <a:pt x="1362" y="1900"/>
                  </a:moveTo>
                  <a:lnTo>
                    <a:pt x="1362" y="1997"/>
                  </a:lnTo>
                  <a:lnTo>
                    <a:pt x="1362" y="1997"/>
                  </a:lnTo>
                  <a:lnTo>
                    <a:pt x="1356" y="2006"/>
                  </a:lnTo>
                  <a:lnTo>
                    <a:pt x="1348" y="2015"/>
                  </a:lnTo>
                  <a:lnTo>
                    <a:pt x="1344" y="2017"/>
                  </a:lnTo>
                  <a:lnTo>
                    <a:pt x="1338" y="2020"/>
                  </a:lnTo>
                  <a:lnTo>
                    <a:pt x="1332" y="2021"/>
                  </a:lnTo>
                  <a:lnTo>
                    <a:pt x="1326" y="2022"/>
                  </a:lnTo>
                  <a:lnTo>
                    <a:pt x="1326" y="2022"/>
                  </a:lnTo>
                  <a:lnTo>
                    <a:pt x="1319" y="2021"/>
                  </a:lnTo>
                  <a:lnTo>
                    <a:pt x="1312" y="2018"/>
                  </a:lnTo>
                  <a:lnTo>
                    <a:pt x="1305" y="2013"/>
                  </a:lnTo>
                  <a:lnTo>
                    <a:pt x="1300" y="2007"/>
                  </a:lnTo>
                  <a:lnTo>
                    <a:pt x="1295" y="1997"/>
                  </a:lnTo>
                  <a:lnTo>
                    <a:pt x="1291" y="1984"/>
                  </a:lnTo>
                  <a:lnTo>
                    <a:pt x="1287" y="1967"/>
                  </a:lnTo>
                  <a:lnTo>
                    <a:pt x="1286" y="1945"/>
                  </a:lnTo>
                  <a:lnTo>
                    <a:pt x="1286" y="1945"/>
                  </a:lnTo>
                  <a:lnTo>
                    <a:pt x="1287" y="1925"/>
                  </a:lnTo>
                  <a:lnTo>
                    <a:pt x="1291" y="1910"/>
                  </a:lnTo>
                  <a:lnTo>
                    <a:pt x="1295" y="1898"/>
                  </a:lnTo>
                  <a:lnTo>
                    <a:pt x="1300" y="1889"/>
                  </a:lnTo>
                  <a:lnTo>
                    <a:pt x="1305" y="1882"/>
                  </a:lnTo>
                  <a:lnTo>
                    <a:pt x="1312" y="1878"/>
                  </a:lnTo>
                  <a:lnTo>
                    <a:pt x="1319" y="1876"/>
                  </a:lnTo>
                  <a:lnTo>
                    <a:pt x="1326" y="1876"/>
                  </a:lnTo>
                  <a:lnTo>
                    <a:pt x="1326" y="1876"/>
                  </a:lnTo>
                  <a:lnTo>
                    <a:pt x="1332" y="1876"/>
                  </a:lnTo>
                  <a:lnTo>
                    <a:pt x="1338" y="1878"/>
                  </a:lnTo>
                  <a:lnTo>
                    <a:pt x="1345" y="1881"/>
                  </a:lnTo>
                  <a:lnTo>
                    <a:pt x="1349" y="1883"/>
                  </a:lnTo>
                  <a:lnTo>
                    <a:pt x="1353" y="1888"/>
                  </a:lnTo>
                  <a:lnTo>
                    <a:pt x="1357" y="1892"/>
                  </a:lnTo>
                  <a:lnTo>
                    <a:pt x="1362" y="1900"/>
                  </a:lnTo>
                  <a:lnTo>
                    <a:pt x="1362" y="1900"/>
                  </a:lnTo>
                  <a:close/>
                  <a:moveTo>
                    <a:pt x="1576" y="1886"/>
                  </a:moveTo>
                  <a:lnTo>
                    <a:pt x="1576" y="1886"/>
                  </a:lnTo>
                  <a:lnTo>
                    <a:pt x="1588" y="1878"/>
                  </a:lnTo>
                  <a:lnTo>
                    <a:pt x="1601" y="1873"/>
                  </a:lnTo>
                  <a:lnTo>
                    <a:pt x="1614" y="1870"/>
                  </a:lnTo>
                  <a:lnTo>
                    <a:pt x="1629" y="1868"/>
                  </a:lnTo>
                  <a:lnTo>
                    <a:pt x="1629" y="1868"/>
                  </a:lnTo>
                  <a:lnTo>
                    <a:pt x="1638" y="1870"/>
                  </a:lnTo>
                  <a:lnTo>
                    <a:pt x="1645" y="1871"/>
                  </a:lnTo>
                  <a:lnTo>
                    <a:pt x="1652" y="1873"/>
                  </a:lnTo>
                  <a:lnTo>
                    <a:pt x="1657" y="1878"/>
                  </a:lnTo>
                  <a:lnTo>
                    <a:pt x="1661" y="1883"/>
                  </a:lnTo>
                  <a:lnTo>
                    <a:pt x="1664" y="1889"/>
                  </a:lnTo>
                  <a:lnTo>
                    <a:pt x="1666" y="1895"/>
                  </a:lnTo>
                  <a:lnTo>
                    <a:pt x="1666" y="1904"/>
                  </a:lnTo>
                  <a:lnTo>
                    <a:pt x="1666" y="1921"/>
                  </a:lnTo>
                  <a:lnTo>
                    <a:pt x="1666" y="1921"/>
                  </a:lnTo>
                  <a:lnTo>
                    <a:pt x="1657" y="1916"/>
                  </a:lnTo>
                  <a:lnTo>
                    <a:pt x="1645" y="1913"/>
                  </a:lnTo>
                  <a:lnTo>
                    <a:pt x="1634" y="1910"/>
                  </a:lnTo>
                  <a:lnTo>
                    <a:pt x="1621" y="1909"/>
                  </a:lnTo>
                  <a:lnTo>
                    <a:pt x="1621" y="1909"/>
                  </a:lnTo>
                  <a:lnTo>
                    <a:pt x="1607" y="1910"/>
                  </a:lnTo>
                  <a:lnTo>
                    <a:pt x="1592" y="1914"/>
                  </a:lnTo>
                  <a:lnTo>
                    <a:pt x="1579" y="1919"/>
                  </a:lnTo>
                  <a:lnTo>
                    <a:pt x="1572" y="1922"/>
                  </a:lnTo>
                  <a:lnTo>
                    <a:pt x="1565" y="1927"/>
                  </a:lnTo>
                  <a:lnTo>
                    <a:pt x="1560" y="1932"/>
                  </a:lnTo>
                  <a:lnTo>
                    <a:pt x="1555" y="1938"/>
                  </a:lnTo>
                  <a:lnTo>
                    <a:pt x="1550" y="1945"/>
                  </a:lnTo>
                  <a:lnTo>
                    <a:pt x="1546" y="1952"/>
                  </a:lnTo>
                  <a:lnTo>
                    <a:pt x="1542" y="1961"/>
                  </a:lnTo>
                  <a:lnTo>
                    <a:pt x="1540" y="1970"/>
                  </a:lnTo>
                  <a:lnTo>
                    <a:pt x="1539" y="1980"/>
                  </a:lnTo>
                  <a:lnTo>
                    <a:pt x="1538" y="1990"/>
                  </a:lnTo>
                  <a:lnTo>
                    <a:pt x="1538" y="1990"/>
                  </a:lnTo>
                  <a:lnTo>
                    <a:pt x="1539" y="2002"/>
                  </a:lnTo>
                  <a:lnTo>
                    <a:pt x="1540" y="2013"/>
                  </a:lnTo>
                  <a:lnTo>
                    <a:pt x="1542" y="2022"/>
                  </a:lnTo>
                  <a:lnTo>
                    <a:pt x="1546" y="2032"/>
                  </a:lnTo>
                  <a:lnTo>
                    <a:pt x="1549" y="2039"/>
                  </a:lnTo>
                  <a:lnTo>
                    <a:pt x="1554" y="2047"/>
                  </a:lnTo>
                  <a:lnTo>
                    <a:pt x="1558" y="2053"/>
                  </a:lnTo>
                  <a:lnTo>
                    <a:pt x="1564" y="2059"/>
                  </a:lnTo>
                  <a:lnTo>
                    <a:pt x="1569" y="2064"/>
                  </a:lnTo>
                  <a:lnTo>
                    <a:pt x="1576" y="2068"/>
                  </a:lnTo>
                  <a:lnTo>
                    <a:pt x="1589" y="2074"/>
                  </a:lnTo>
                  <a:lnTo>
                    <a:pt x="1603" y="2077"/>
                  </a:lnTo>
                  <a:lnTo>
                    <a:pt x="1616" y="2079"/>
                  </a:lnTo>
                  <a:lnTo>
                    <a:pt x="1616" y="2079"/>
                  </a:lnTo>
                  <a:lnTo>
                    <a:pt x="1628" y="2076"/>
                  </a:lnTo>
                  <a:lnTo>
                    <a:pt x="1635" y="2075"/>
                  </a:lnTo>
                  <a:lnTo>
                    <a:pt x="1641" y="2072"/>
                  </a:lnTo>
                  <a:lnTo>
                    <a:pt x="1649" y="2069"/>
                  </a:lnTo>
                  <a:lnTo>
                    <a:pt x="1655" y="2064"/>
                  </a:lnTo>
                  <a:lnTo>
                    <a:pt x="1661" y="2059"/>
                  </a:lnTo>
                  <a:lnTo>
                    <a:pt x="1666" y="2053"/>
                  </a:lnTo>
                  <a:lnTo>
                    <a:pt x="1666" y="2072"/>
                  </a:lnTo>
                  <a:lnTo>
                    <a:pt x="1718" y="2072"/>
                  </a:lnTo>
                  <a:lnTo>
                    <a:pt x="1718" y="1905"/>
                  </a:lnTo>
                  <a:lnTo>
                    <a:pt x="1718" y="1905"/>
                  </a:lnTo>
                  <a:lnTo>
                    <a:pt x="1718" y="1895"/>
                  </a:lnTo>
                  <a:lnTo>
                    <a:pt x="1717" y="1887"/>
                  </a:lnTo>
                  <a:lnTo>
                    <a:pt x="1715" y="1878"/>
                  </a:lnTo>
                  <a:lnTo>
                    <a:pt x="1713" y="1870"/>
                  </a:lnTo>
                  <a:lnTo>
                    <a:pt x="1709" y="1862"/>
                  </a:lnTo>
                  <a:lnTo>
                    <a:pt x="1706" y="1855"/>
                  </a:lnTo>
                  <a:lnTo>
                    <a:pt x="1701" y="1849"/>
                  </a:lnTo>
                  <a:lnTo>
                    <a:pt x="1695" y="1843"/>
                  </a:lnTo>
                  <a:lnTo>
                    <a:pt x="1690" y="1838"/>
                  </a:lnTo>
                  <a:lnTo>
                    <a:pt x="1684" y="1833"/>
                  </a:lnTo>
                  <a:lnTo>
                    <a:pt x="1677" y="1829"/>
                  </a:lnTo>
                  <a:lnTo>
                    <a:pt x="1669" y="1825"/>
                  </a:lnTo>
                  <a:lnTo>
                    <a:pt x="1661" y="1823"/>
                  </a:lnTo>
                  <a:lnTo>
                    <a:pt x="1653" y="1822"/>
                  </a:lnTo>
                  <a:lnTo>
                    <a:pt x="1643" y="1820"/>
                  </a:lnTo>
                  <a:lnTo>
                    <a:pt x="1634" y="1819"/>
                  </a:lnTo>
                  <a:lnTo>
                    <a:pt x="1634" y="1819"/>
                  </a:lnTo>
                  <a:lnTo>
                    <a:pt x="1623" y="1820"/>
                  </a:lnTo>
                  <a:lnTo>
                    <a:pt x="1613" y="1820"/>
                  </a:lnTo>
                  <a:lnTo>
                    <a:pt x="1603" y="1823"/>
                  </a:lnTo>
                  <a:lnTo>
                    <a:pt x="1592" y="1825"/>
                  </a:lnTo>
                  <a:lnTo>
                    <a:pt x="1583" y="1829"/>
                  </a:lnTo>
                  <a:lnTo>
                    <a:pt x="1574" y="1833"/>
                  </a:lnTo>
                  <a:lnTo>
                    <a:pt x="1564" y="1838"/>
                  </a:lnTo>
                  <a:lnTo>
                    <a:pt x="1555" y="1844"/>
                  </a:lnTo>
                  <a:lnTo>
                    <a:pt x="1576" y="1886"/>
                  </a:lnTo>
                  <a:close/>
                  <a:moveTo>
                    <a:pt x="1590" y="1990"/>
                  </a:moveTo>
                  <a:lnTo>
                    <a:pt x="1590" y="1990"/>
                  </a:lnTo>
                  <a:lnTo>
                    <a:pt x="1590" y="1983"/>
                  </a:lnTo>
                  <a:lnTo>
                    <a:pt x="1592" y="1975"/>
                  </a:lnTo>
                  <a:lnTo>
                    <a:pt x="1595" y="1969"/>
                  </a:lnTo>
                  <a:lnTo>
                    <a:pt x="1600" y="1964"/>
                  </a:lnTo>
                  <a:lnTo>
                    <a:pt x="1605" y="1961"/>
                  </a:lnTo>
                  <a:lnTo>
                    <a:pt x="1611" y="1958"/>
                  </a:lnTo>
                  <a:lnTo>
                    <a:pt x="1618" y="1956"/>
                  </a:lnTo>
                  <a:lnTo>
                    <a:pt x="1626" y="1956"/>
                  </a:lnTo>
                  <a:lnTo>
                    <a:pt x="1626" y="1956"/>
                  </a:lnTo>
                  <a:lnTo>
                    <a:pt x="1637" y="1956"/>
                  </a:lnTo>
                  <a:lnTo>
                    <a:pt x="1647" y="1958"/>
                  </a:lnTo>
                  <a:lnTo>
                    <a:pt x="1657" y="1962"/>
                  </a:lnTo>
                  <a:lnTo>
                    <a:pt x="1666" y="1968"/>
                  </a:lnTo>
                  <a:lnTo>
                    <a:pt x="1666" y="2001"/>
                  </a:lnTo>
                  <a:lnTo>
                    <a:pt x="1666" y="2001"/>
                  </a:lnTo>
                  <a:lnTo>
                    <a:pt x="1664" y="2006"/>
                  </a:lnTo>
                  <a:lnTo>
                    <a:pt x="1660" y="2011"/>
                  </a:lnTo>
                  <a:lnTo>
                    <a:pt x="1656" y="2016"/>
                  </a:lnTo>
                  <a:lnTo>
                    <a:pt x="1651" y="2020"/>
                  </a:lnTo>
                  <a:lnTo>
                    <a:pt x="1645" y="2023"/>
                  </a:lnTo>
                  <a:lnTo>
                    <a:pt x="1639" y="2026"/>
                  </a:lnTo>
                  <a:lnTo>
                    <a:pt x="1633" y="2027"/>
                  </a:lnTo>
                  <a:lnTo>
                    <a:pt x="1626" y="2028"/>
                  </a:lnTo>
                  <a:lnTo>
                    <a:pt x="1626" y="2028"/>
                  </a:lnTo>
                  <a:lnTo>
                    <a:pt x="1618" y="2027"/>
                  </a:lnTo>
                  <a:lnTo>
                    <a:pt x="1611" y="2024"/>
                  </a:lnTo>
                  <a:lnTo>
                    <a:pt x="1605" y="2022"/>
                  </a:lnTo>
                  <a:lnTo>
                    <a:pt x="1600" y="2017"/>
                  </a:lnTo>
                  <a:lnTo>
                    <a:pt x="1595" y="2012"/>
                  </a:lnTo>
                  <a:lnTo>
                    <a:pt x="1592" y="2006"/>
                  </a:lnTo>
                  <a:lnTo>
                    <a:pt x="1591" y="1999"/>
                  </a:lnTo>
                  <a:lnTo>
                    <a:pt x="1590" y="1990"/>
                  </a:lnTo>
                  <a:lnTo>
                    <a:pt x="1590" y="1990"/>
                  </a:lnTo>
                  <a:close/>
                  <a:moveTo>
                    <a:pt x="2200" y="2001"/>
                  </a:moveTo>
                  <a:lnTo>
                    <a:pt x="2200" y="2001"/>
                  </a:lnTo>
                  <a:lnTo>
                    <a:pt x="2193" y="2009"/>
                  </a:lnTo>
                  <a:lnTo>
                    <a:pt x="2183" y="2015"/>
                  </a:lnTo>
                  <a:lnTo>
                    <a:pt x="2178" y="2017"/>
                  </a:lnTo>
                  <a:lnTo>
                    <a:pt x="2172" y="2020"/>
                  </a:lnTo>
                  <a:lnTo>
                    <a:pt x="2166" y="2021"/>
                  </a:lnTo>
                  <a:lnTo>
                    <a:pt x="2160" y="2022"/>
                  </a:lnTo>
                  <a:lnTo>
                    <a:pt x="2160" y="2022"/>
                  </a:lnTo>
                  <a:lnTo>
                    <a:pt x="2154" y="2021"/>
                  </a:lnTo>
                  <a:lnTo>
                    <a:pt x="2148" y="2021"/>
                  </a:lnTo>
                  <a:lnTo>
                    <a:pt x="2141" y="2018"/>
                  </a:lnTo>
                  <a:lnTo>
                    <a:pt x="2132" y="2013"/>
                  </a:lnTo>
                  <a:lnTo>
                    <a:pt x="2125" y="2007"/>
                  </a:lnTo>
                  <a:lnTo>
                    <a:pt x="2122" y="2002"/>
                  </a:lnTo>
                  <a:lnTo>
                    <a:pt x="2119" y="1997"/>
                  </a:lnTo>
                  <a:lnTo>
                    <a:pt x="2117" y="1991"/>
                  </a:lnTo>
                  <a:lnTo>
                    <a:pt x="2115" y="1984"/>
                  </a:lnTo>
                  <a:lnTo>
                    <a:pt x="2114" y="1977"/>
                  </a:lnTo>
                  <a:lnTo>
                    <a:pt x="2113" y="1968"/>
                  </a:lnTo>
                  <a:lnTo>
                    <a:pt x="2241" y="1968"/>
                  </a:lnTo>
                  <a:lnTo>
                    <a:pt x="2241" y="1968"/>
                  </a:lnTo>
                  <a:lnTo>
                    <a:pt x="2242" y="1949"/>
                  </a:lnTo>
                  <a:lnTo>
                    <a:pt x="2242" y="1949"/>
                  </a:lnTo>
                  <a:lnTo>
                    <a:pt x="2242" y="1935"/>
                  </a:lnTo>
                  <a:lnTo>
                    <a:pt x="2240" y="1921"/>
                  </a:lnTo>
                  <a:lnTo>
                    <a:pt x="2239" y="1908"/>
                  </a:lnTo>
                  <a:lnTo>
                    <a:pt x="2236" y="1895"/>
                  </a:lnTo>
                  <a:lnTo>
                    <a:pt x="2232" y="1884"/>
                  </a:lnTo>
                  <a:lnTo>
                    <a:pt x="2228" y="1873"/>
                  </a:lnTo>
                  <a:lnTo>
                    <a:pt x="2223" y="1863"/>
                  </a:lnTo>
                  <a:lnTo>
                    <a:pt x="2218" y="1855"/>
                  </a:lnTo>
                  <a:lnTo>
                    <a:pt x="2212" y="1846"/>
                  </a:lnTo>
                  <a:lnTo>
                    <a:pt x="2205" y="1840"/>
                  </a:lnTo>
                  <a:lnTo>
                    <a:pt x="2198" y="1834"/>
                  </a:lnTo>
                  <a:lnTo>
                    <a:pt x="2190" y="1829"/>
                  </a:lnTo>
                  <a:lnTo>
                    <a:pt x="2181" y="1825"/>
                  </a:lnTo>
                  <a:lnTo>
                    <a:pt x="2173" y="1822"/>
                  </a:lnTo>
                  <a:lnTo>
                    <a:pt x="2164" y="1820"/>
                  </a:lnTo>
                  <a:lnTo>
                    <a:pt x="2153" y="1819"/>
                  </a:lnTo>
                  <a:lnTo>
                    <a:pt x="2153" y="1819"/>
                  </a:lnTo>
                  <a:lnTo>
                    <a:pt x="2144" y="1820"/>
                  </a:lnTo>
                  <a:lnTo>
                    <a:pt x="2135" y="1822"/>
                  </a:lnTo>
                  <a:lnTo>
                    <a:pt x="2125" y="1825"/>
                  </a:lnTo>
                  <a:lnTo>
                    <a:pt x="2116" y="1829"/>
                  </a:lnTo>
                  <a:lnTo>
                    <a:pt x="2108" y="1834"/>
                  </a:lnTo>
                  <a:lnTo>
                    <a:pt x="2100" y="1841"/>
                  </a:lnTo>
                  <a:lnTo>
                    <a:pt x="2093" y="1847"/>
                  </a:lnTo>
                  <a:lnTo>
                    <a:pt x="2087" y="1856"/>
                  </a:lnTo>
                  <a:lnTo>
                    <a:pt x="2080" y="1865"/>
                  </a:lnTo>
                  <a:lnTo>
                    <a:pt x="2075" y="1875"/>
                  </a:lnTo>
                  <a:lnTo>
                    <a:pt x="2071" y="1886"/>
                  </a:lnTo>
                  <a:lnTo>
                    <a:pt x="2067" y="1897"/>
                  </a:lnTo>
                  <a:lnTo>
                    <a:pt x="2064" y="1909"/>
                  </a:lnTo>
                  <a:lnTo>
                    <a:pt x="2062" y="1922"/>
                  </a:lnTo>
                  <a:lnTo>
                    <a:pt x="2061" y="1935"/>
                  </a:lnTo>
                  <a:lnTo>
                    <a:pt x="2060" y="1949"/>
                  </a:lnTo>
                  <a:lnTo>
                    <a:pt x="2060" y="1949"/>
                  </a:lnTo>
                  <a:lnTo>
                    <a:pt x="2061" y="1963"/>
                  </a:lnTo>
                  <a:lnTo>
                    <a:pt x="2062" y="1977"/>
                  </a:lnTo>
                  <a:lnTo>
                    <a:pt x="2064" y="1990"/>
                  </a:lnTo>
                  <a:lnTo>
                    <a:pt x="2067" y="2002"/>
                  </a:lnTo>
                  <a:lnTo>
                    <a:pt x="2071" y="2013"/>
                  </a:lnTo>
                  <a:lnTo>
                    <a:pt x="2075" y="2024"/>
                  </a:lnTo>
                  <a:lnTo>
                    <a:pt x="2080" y="2034"/>
                  </a:lnTo>
                  <a:lnTo>
                    <a:pt x="2087" y="2043"/>
                  </a:lnTo>
                  <a:lnTo>
                    <a:pt x="2094" y="2050"/>
                  </a:lnTo>
                  <a:lnTo>
                    <a:pt x="2101" y="2058"/>
                  </a:lnTo>
                  <a:lnTo>
                    <a:pt x="2110" y="2064"/>
                  </a:lnTo>
                  <a:lnTo>
                    <a:pt x="2118" y="2069"/>
                  </a:lnTo>
                  <a:lnTo>
                    <a:pt x="2127" y="2072"/>
                  </a:lnTo>
                  <a:lnTo>
                    <a:pt x="2138" y="2076"/>
                  </a:lnTo>
                  <a:lnTo>
                    <a:pt x="2148" y="2077"/>
                  </a:lnTo>
                  <a:lnTo>
                    <a:pt x="2160" y="2079"/>
                  </a:lnTo>
                  <a:lnTo>
                    <a:pt x="2160" y="2079"/>
                  </a:lnTo>
                  <a:lnTo>
                    <a:pt x="2170" y="2077"/>
                  </a:lnTo>
                  <a:lnTo>
                    <a:pt x="2179" y="2076"/>
                  </a:lnTo>
                  <a:lnTo>
                    <a:pt x="2190" y="2072"/>
                  </a:lnTo>
                  <a:lnTo>
                    <a:pt x="2199" y="2069"/>
                  </a:lnTo>
                  <a:lnTo>
                    <a:pt x="2208" y="2063"/>
                  </a:lnTo>
                  <a:lnTo>
                    <a:pt x="2217" y="2056"/>
                  </a:lnTo>
                  <a:lnTo>
                    <a:pt x="2225" y="2048"/>
                  </a:lnTo>
                  <a:lnTo>
                    <a:pt x="2233" y="2039"/>
                  </a:lnTo>
                  <a:lnTo>
                    <a:pt x="2200" y="2001"/>
                  </a:lnTo>
                  <a:close/>
                  <a:moveTo>
                    <a:pt x="2114" y="1922"/>
                  </a:moveTo>
                  <a:lnTo>
                    <a:pt x="2114" y="1922"/>
                  </a:lnTo>
                  <a:lnTo>
                    <a:pt x="2115" y="1911"/>
                  </a:lnTo>
                  <a:lnTo>
                    <a:pt x="2117" y="1902"/>
                  </a:lnTo>
                  <a:lnTo>
                    <a:pt x="2120" y="1893"/>
                  </a:lnTo>
                  <a:lnTo>
                    <a:pt x="2125" y="1886"/>
                  </a:lnTo>
                  <a:lnTo>
                    <a:pt x="2130" y="1879"/>
                  </a:lnTo>
                  <a:lnTo>
                    <a:pt x="2137" y="1876"/>
                  </a:lnTo>
                  <a:lnTo>
                    <a:pt x="2144" y="1872"/>
                  </a:lnTo>
                  <a:lnTo>
                    <a:pt x="2152" y="1872"/>
                  </a:lnTo>
                  <a:lnTo>
                    <a:pt x="2152" y="1872"/>
                  </a:lnTo>
                  <a:lnTo>
                    <a:pt x="2162" y="1873"/>
                  </a:lnTo>
                  <a:lnTo>
                    <a:pt x="2170" y="1876"/>
                  </a:lnTo>
                  <a:lnTo>
                    <a:pt x="2176" y="1881"/>
                  </a:lnTo>
                  <a:lnTo>
                    <a:pt x="2181" y="1888"/>
                  </a:lnTo>
                  <a:lnTo>
                    <a:pt x="2186" y="1895"/>
                  </a:lnTo>
                  <a:lnTo>
                    <a:pt x="2189" y="1904"/>
                  </a:lnTo>
                  <a:lnTo>
                    <a:pt x="2191" y="1914"/>
                  </a:lnTo>
                  <a:lnTo>
                    <a:pt x="2192" y="1922"/>
                  </a:lnTo>
                  <a:lnTo>
                    <a:pt x="2114" y="1922"/>
                  </a:lnTo>
                  <a:close/>
                  <a:moveTo>
                    <a:pt x="2701" y="2001"/>
                  </a:moveTo>
                  <a:lnTo>
                    <a:pt x="2701" y="2001"/>
                  </a:lnTo>
                  <a:lnTo>
                    <a:pt x="2692" y="2009"/>
                  </a:lnTo>
                  <a:lnTo>
                    <a:pt x="2684" y="2015"/>
                  </a:lnTo>
                  <a:lnTo>
                    <a:pt x="2678" y="2017"/>
                  </a:lnTo>
                  <a:lnTo>
                    <a:pt x="2673" y="2020"/>
                  </a:lnTo>
                  <a:lnTo>
                    <a:pt x="2666" y="2021"/>
                  </a:lnTo>
                  <a:lnTo>
                    <a:pt x="2659" y="2022"/>
                  </a:lnTo>
                  <a:lnTo>
                    <a:pt x="2659" y="2022"/>
                  </a:lnTo>
                  <a:lnTo>
                    <a:pt x="2654" y="2021"/>
                  </a:lnTo>
                  <a:lnTo>
                    <a:pt x="2648" y="2021"/>
                  </a:lnTo>
                  <a:lnTo>
                    <a:pt x="2640" y="2018"/>
                  </a:lnTo>
                  <a:lnTo>
                    <a:pt x="2633" y="2013"/>
                  </a:lnTo>
                  <a:lnTo>
                    <a:pt x="2626" y="2007"/>
                  </a:lnTo>
                  <a:lnTo>
                    <a:pt x="2623" y="2002"/>
                  </a:lnTo>
                  <a:lnTo>
                    <a:pt x="2620" y="1997"/>
                  </a:lnTo>
                  <a:lnTo>
                    <a:pt x="2617" y="1991"/>
                  </a:lnTo>
                  <a:lnTo>
                    <a:pt x="2615" y="1984"/>
                  </a:lnTo>
                  <a:lnTo>
                    <a:pt x="2613" y="1977"/>
                  </a:lnTo>
                  <a:lnTo>
                    <a:pt x="2612" y="1968"/>
                  </a:lnTo>
                  <a:lnTo>
                    <a:pt x="2741" y="1968"/>
                  </a:lnTo>
                  <a:lnTo>
                    <a:pt x="2741" y="1968"/>
                  </a:lnTo>
                  <a:lnTo>
                    <a:pt x="2742" y="1949"/>
                  </a:lnTo>
                  <a:lnTo>
                    <a:pt x="2742" y="1949"/>
                  </a:lnTo>
                  <a:lnTo>
                    <a:pt x="2741" y="1935"/>
                  </a:lnTo>
                  <a:lnTo>
                    <a:pt x="2740" y="1921"/>
                  </a:lnTo>
                  <a:lnTo>
                    <a:pt x="2738" y="1908"/>
                  </a:lnTo>
                  <a:lnTo>
                    <a:pt x="2736" y="1895"/>
                  </a:lnTo>
                  <a:lnTo>
                    <a:pt x="2732" y="1884"/>
                  </a:lnTo>
                  <a:lnTo>
                    <a:pt x="2728" y="1873"/>
                  </a:lnTo>
                  <a:lnTo>
                    <a:pt x="2724" y="1863"/>
                  </a:lnTo>
                  <a:lnTo>
                    <a:pt x="2718" y="1855"/>
                  </a:lnTo>
                  <a:lnTo>
                    <a:pt x="2712" y="1846"/>
                  </a:lnTo>
                  <a:lnTo>
                    <a:pt x="2705" y="1840"/>
                  </a:lnTo>
                  <a:lnTo>
                    <a:pt x="2698" y="1834"/>
                  </a:lnTo>
                  <a:lnTo>
                    <a:pt x="2690" y="1829"/>
                  </a:lnTo>
                  <a:lnTo>
                    <a:pt x="2682" y="1825"/>
                  </a:lnTo>
                  <a:lnTo>
                    <a:pt x="2673" y="1822"/>
                  </a:lnTo>
                  <a:lnTo>
                    <a:pt x="2663" y="1820"/>
                  </a:lnTo>
                  <a:lnTo>
                    <a:pt x="2654" y="1819"/>
                  </a:lnTo>
                  <a:lnTo>
                    <a:pt x="2654" y="1819"/>
                  </a:lnTo>
                  <a:lnTo>
                    <a:pt x="2643" y="1820"/>
                  </a:lnTo>
                  <a:lnTo>
                    <a:pt x="2634" y="1822"/>
                  </a:lnTo>
                  <a:lnTo>
                    <a:pt x="2625" y="1825"/>
                  </a:lnTo>
                  <a:lnTo>
                    <a:pt x="2616" y="1829"/>
                  </a:lnTo>
                  <a:lnTo>
                    <a:pt x="2608" y="1834"/>
                  </a:lnTo>
                  <a:lnTo>
                    <a:pt x="2600" y="1841"/>
                  </a:lnTo>
                  <a:lnTo>
                    <a:pt x="2594" y="1847"/>
                  </a:lnTo>
                  <a:lnTo>
                    <a:pt x="2586" y="1856"/>
                  </a:lnTo>
                  <a:lnTo>
                    <a:pt x="2580" y="1865"/>
                  </a:lnTo>
                  <a:lnTo>
                    <a:pt x="2575" y="1875"/>
                  </a:lnTo>
                  <a:lnTo>
                    <a:pt x="2571" y="1886"/>
                  </a:lnTo>
                  <a:lnTo>
                    <a:pt x="2566" y="1897"/>
                  </a:lnTo>
                  <a:lnTo>
                    <a:pt x="2564" y="1909"/>
                  </a:lnTo>
                  <a:lnTo>
                    <a:pt x="2561" y="1922"/>
                  </a:lnTo>
                  <a:lnTo>
                    <a:pt x="2560" y="1935"/>
                  </a:lnTo>
                  <a:lnTo>
                    <a:pt x="2560" y="1949"/>
                  </a:lnTo>
                  <a:lnTo>
                    <a:pt x="2560" y="1949"/>
                  </a:lnTo>
                  <a:lnTo>
                    <a:pt x="2560" y="1963"/>
                  </a:lnTo>
                  <a:lnTo>
                    <a:pt x="2561" y="1977"/>
                  </a:lnTo>
                  <a:lnTo>
                    <a:pt x="2563" y="1990"/>
                  </a:lnTo>
                  <a:lnTo>
                    <a:pt x="2566" y="2002"/>
                  </a:lnTo>
                  <a:lnTo>
                    <a:pt x="2571" y="2013"/>
                  </a:lnTo>
                  <a:lnTo>
                    <a:pt x="2576" y="2024"/>
                  </a:lnTo>
                  <a:lnTo>
                    <a:pt x="2581" y="2034"/>
                  </a:lnTo>
                  <a:lnTo>
                    <a:pt x="2587" y="2043"/>
                  </a:lnTo>
                  <a:lnTo>
                    <a:pt x="2594" y="2050"/>
                  </a:lnTo>
                  <a:lnTo>
                    <a:pt x="2601" y="2058"/>
                  </a:lnTo>
                  <a:lnTo>
                    <a:pt x="2609" y="2064"/>
                  </a:lnTo>
                  <a:lnTo>
                    <a:pt x="2619" y="2069"/>
                  </a:lnTo>
                  <a:lnTo>
                    <a:pt x="2628" y="2072"/>
                  </a:lnTo>
                  <a:lnTo>
                    <a:pt x="2637" y="2076"/>
                  </a:lnTo>
                  <a:lnTo>
                    <a:pt x="2649" y="2077"/>
                  </a:lnTo>
                  <a:lnTo>
                    <a:pt x="2659" y="2079"/>
                  </a:lnTo>
                  <a:lnTo>
                    <a:pt x="2659" y="2079"/>
                  </a:lnTo>
                  <a:lnTo>
                    <a:pt x="2670" y="2077"/>
                  </a:lnTo>
                  <a:lnTo>
                    <a:pt x="2680" y="2076"/>
                  </a:lnTo>
                  <a:lnTo>
                    <a:pt x="2689" y="2072"/>
                  </a:lnTo>
                  <a:lnTo>
                    <a:pt x="2699" y="2069"/>
                  </a:lnTo>
                  <a:lnTo>
                    <a:pt x="2708" y="2063"/>
                  </a:lnTo>
                  <a:lnTo>
                    <a:pt x="2717" y="2056"/>
                  </a:lnTo>
                  <a:lnTo>
                    <a:pt x="2726" y="2048"/>
                  </a:lnTo>
                  <a:lnTo>
                    <a:pt x="2733" y="2039"/>
                  </a:lnTo>
                  <a:lnTo>
                    <a:pt x="2701" y="2001"/>
                  </a:lnTo>
                  <a:close/>
                  <a:moveTo>
                    <a:pt x="2613" y="1922"/>
                  </a:moveTo>
                  <a:lnTo>
                    <a:pt x="2613" y="1922"/>
                  </a:lnTo>
                  <a:lnTo>
                    <a:pt x="2614" y="1911"/>
                  </a:lnTo>
                  <a:lnTo>
                    <a:pt x="2617" y="1902"/>
                  </a:lnTo>
                  <a:lnTo>
                    <a:pt x="2621" y="1893"/>
                  </a:lnTo>
                  <a:lnTo>
                    <a:pt x="2625" y="1886"/>
                  </a:lnTo>
                  <a:lnTo>
                    <a:pt x="2631" y="1879"/>
                  </a:lnTo>
                  <a:lnTo>
                    <a:pt x="2637" y="1876"/>
                  </a:lnTo>
                  <a:lnTo>
                    <a:pt x="2645" y="1872"/>
                  </a:lnTo>
                  <a:lnTo>
                    <a:pt x="2653" y="1872"/>
                  </a:lnTo>
                  <a:lnTo>
                    <a:pt x="2653" y="1872"/>
                  </a:lnTo>
                  <a:lnTo>
                    <a:pt x="2662" y="1873"/>
                  </a:lnTo>
                  <a:lnTo>
                    <a:pt x="2670" y="1876"/>
                  </a:lnTo>
                  <a:lnTo>
                    <a:pt x="2677" y="1881"/>
                  </a:lnTo>
                  <a:lnTo>
                    <a:pt x="2682" y="1888"/>
                  </a:lnTo>
                  <a:lnTo>
                    <a:pt x="2686" y="1895"/>
                  </a:lnTo>
                  <a:lnTo>
                    <a:pt x="2689" y="1904"/>
                  </a:lnTo>
                  <a:lnTo>
                    <a:pt x="2691" y="1914"/>
                  </a:lnTo>
                  <a:lnTo>
                    <a:pt x="2692" y="1922"/>
                  </a:lnTo>
                  <a:lnTo>
                    <a:pt x="2613" y="1922"/>
                  </a:lnTo>
                  <a:close/>
                  <a:moveTo>
                    <a:pt x="2488" y="1986"/>
                  </a:moveTo>
                  <a:lnTo>
                    <a:pt x="2488" y="1986"/>
                  </a:lnTo>
                  <a:lnTo>
                    <a:pt x="2488" y="1995"/>
                  </a:lnTo>
                  <a:lnTo>
                    <a:pt x="2489" y="2001"/>
                  </a:lnTo>
                  <a:lnTo>
                    <a:pt x="2492" y="2007"/>
                  </a:lnTo>
                  <a:lnTo>
                    <a:pt x="2494" y="2012"/>
                  </a:lnTo>
                  <a:lnTo>
                    <a:pt x="2497" y="2016"/>
                  </a:lnTo>
                  <a:lnTo>
                    <a:pt x="2501" y="2018"/>
                  </a:lnTo>
                  <a:lnTo>
                    <a:pt x="2505" y="2020"/>
                  </a:lnTo>
                  <a:lnTo>
                    <a:pt x="2511" y="2020"/>
                  </a:lnTo>
                  <a:lnTo>
                    <a:pt x="2511" y="2020"/>
                  </a:lnTo>
                  <a:lnTo>
                    <a:pt x="2519" y="2020"/>
                  </a:lnTo>
                  <a:lnTo>
                    <a:pt x="2527" y="2017"/>
                  </a:lnTo>
                  <a:lnTo>
                    <a:pt x="2535" y="2013"/>
                  </a:lnTo>
                  <a:lnTo>
                    <a:pt x="2543" y="2009"/>
                  </a:lnTo>
                  <a:lnTo>
                    <a:pt x="2536" y="2066"/>
                  </a:lnTo>
                  <a:lnTo>
                    <a:pt x="2536" y="2066"/>
                  </a:lnTo>
                  <a:lnTo>
                    <a:pt x="2527" y="2071"/>
                  </a:lnTo>
                  <a:lnTo>
                    <a:pt x="2515" y="2075"/>
                  </a:lnTo>
                  <a:lnTo>
                    <a:pt x="2504" y="2077"/>
                  </a:lnTo>
                  <a:lnTo>
                    <a:pt x="2493" y="2079"/>
                  </a:lnTo>
                  <a:lnTo>
                    <a:pt x="2493" y="2079"/>
                  </a:lnTo>
                  <a:lnTo>
                    <a:pt x="2485" y="2077"/>
                  </a:lnTo>
                  <a:lnTo>
                    <a:pt x="2478" y="2076"/>
                  </a:lnTo>
                  <a:lnTo>
                    <a:pt x="2472" y="2074"/>
                  </a:lnTo>
                  <a:lnTo>
                    <a:pt x="2467" y="2071"/>
                  </a:lnTo>
                  <a:lnTo>
                    <a:pt x="2461" y="2068"/>
                  </a:lnTo>
                  <a:lnTo>
                    <a:pt x="2456" y="2064"/>
                  </a:lnTo>
                  <a:lnTo>
                    <a:pt x="2453" y="2059"/>
                  </a:lnTo>
                  <a:lnTo>
                    <a:pt x="2449" y="2053"/>
                  </a:lnTo>
                  <a:lnTo>
                    <a:pt x="2444" y="2042"/>
                  </a:lnTo>
                  <a:lnTo>
                    <a:pt x="2440" y="2028"/>
                  </a:lnTo>
                  <a:lnTo>
                    <a:pt x="2437" y="2016"/>
                  </a:lnTo>
                  <a:lnTo>
                    <a:pt x="2436" y="2002"/>
                  </a:lnTo>
                  <a:lnTo>
                    <a:pt x="2436" y="1882"/>
                  </a:lnTo>
                  <a:lnTo>
                    <a:pt x="2404" y="1882"/>
                  </a:lnTo>
                  <a:lnTo>
                    <a:pt x="2404" y="1825"/>
                  </a:lnTo>
                  <a:lnTo>
                    <a:pt x="2436" y="1825"/>
                  </a:lnTo>
                  <a:lnTo>
                    <a:pt x="2436" y="1761"/>
                  </a:lnTo>
                  <a:lnTo>
                    <a:pt x="2488" y="1731"/>
                  </a:lnTo>
                  <a:lnTo>
                    <a:pt x="2488" y="1825"/>
                  </a:lnTo>
                  <a:lnTo>
                    <a:pt x="2535" y="1825"/>
                  </a:lnTo>
                  <a:lnTo>
                    <a:pt x="2535" y="1882"/>
                  </a:lnTo>
                  <a:lnTo>
                    <a:pt x="2488" y="1882"/>
                  </a:lnTo>
                  <a:lnTo>
                    <a:pt x="2488" y="1986"/>
                  </a:lnTo>
                  <a:close/>
                  <a:moveTo>
                    <a:pt x="2387" y="2066"/>
                  </a:moveTo>
                  <a:lnTo>
                    <a:pt x="2387" y="2066"/>
                  </a:lnTo>
                  <a:lnTo>
                    <a:pt x="2378" y="2071"/>
                  </a:lnTo>
                  <a:lnTo>
                    <a:pt x="2368" y="2075"/>
                  </a:lnTo>
                  <a:lnTo>
                    <a:pt x="2356" y="2077"/>
                  </a:lnTo>
                  <a:lnTo>
                    <a:pt x="2345" y="2079"/>
                  </a:lnTo>
                  <a:lnTo>
                    <a:pt x="2345" y="2079"/>
                  </a:lnTo>
                  <a:lnTo>
                    <a:pt x="2336" y="2077"/>
                  </a:lnTo>
                  <a:lnTo>
                    <a:pt x="2330" y="2076"/>
                  </a:lnTo>
                  <a:lnTo>
                    <a:pt x="2324" y="2074"/>
                  </a:lnTo>
                  <a:lnTo>
                    <a:pt x="2318" y="2071"/>
                  </a:lnTo>
                  <a:lnTo>
                    <a:pt x="2314" y="2068"/>
                  </a:lnTo>
                  <a:lnTo>
                    <a:pt x="2308" y="2064"/>
                  </a:lnTo>
                  <a:lnTo>
                    <a:pt x="2304" y="2059"/>
                  </a:lnTo>
                  <a:lnTo>
                    <a:pt x="2301" y="2053"/>
                  </a:lnTo>
                  <a:lnTo>
                    <a:pt x="2295" y="2042"/>
                  </a:lnTo>
                  <a:lnTo>
                    <a:pt x="2292" y="2028"/>
                  </a:lnTo>
                  <a:lnTo>
                    <a:pt x="2289" y="2016"/>
                  </a:lnTo>
                  <a:lnTo>
                    <a:pt x="2289" y="2002"/>
                  </a:lnTo>
                  <a:lnTo>
                    <a:pt x="2289" y="1882"/>
                  </a:lnTo>
                  <a:lnTo>
                    <a:pt x="2256" y="1882"/>
                  </a:lnTo>
                  <a:lnTo>
                    <a:pt x="2256" y="1825"/>
                  </a:lnTo>
                  <a:lnTo>
                    <a:pt x="2289" y="1825"/>
                  </a:lnTo>
                  <a:lnTo>
                    <a:pt x="2289" y="1761"/>
                  </a:lnTo>
                  <a:lnTo>
                    <a:pt x="2341" y="1731"/>
                  </a:lnTo>
                  <a:lnTo>
                    <a:pt x="2341" y="1825"/>
                  </a:lnTo>
                  <a:lnTo>
                    <a:pt x="2384" y="1825"/>
                  </a:lnTo>
                  <a:lnTo>
                    <a:pt x="2384" y="1882"/>
                  </a:lnTo>
                  <a:lnTo>
                    <a:pt x="2341" y="1882"/>
                  </a:lnTo>
                  <a:lnTo>
                    <a:pt x="2341" y="1986"/>
                  </a:lnTo>
                  <a:lnTo>
                    <a:pt x="2341" y="1986"/>
                  </a:lnTo>
                  <a:lnTo>
                    <a:pt x="2341" y="1995"/>
                  </a:lnTo>
                  <a:lnTo>
                    <a:pt x="2342" y="2001"/>
                  </a:lnTo>
                  <a:lnTo>
                    <a:pt x="2344" y="2007"/>
                  </a:lnTo>
                  <a:lnTo>
                    <a:pt x="2346" y="2012"/>
                  </a:lnTo>
                  <a:lnTo>
                    <a:pt x="2349" y="2016"/>
                  </a:lnTo>
                  <a:lnTo>
                    <a:pt x="2353" y="2018"/>
                  </a:lnTo>
                  <a:lnTo>
                    <a:pt x="2357" y="2020"/>
                  </a:lnTo>
                  <a:lnTo>
                    <a:pt x="2362" y="2020"/>
                  </a:lnTo>
                  <a:lnTo>
                    <a:pt x="2362" y="2020"/>
                  </a:lnTo>
                  <a:lnTo>
                    <a:pt x="2371" y="2020"/>
                  </a:lnTo>
                  <a:lnTo>
                    <a:pt x="2379" y="2017"/>
                  </a:lnTo>
                  <a:lnTo>
                    <a:pt x="2386" y="2013"/>
                  </a:lnTo>
                  <a:lnTo>
                    <a:pt x="2394" y="2009"/>
                  </a:lnTo>
                  <a:lnTo>
                    <a:pt x="2387" y="2066"/>
                  </a:lnTo>
                  <a:close/>
                  <a:moveTo>
                    <a:pt x="2898" y="1894"/>
                  </a:moveTo>
                  <a:lnTo>
                    <a:pt x="2898" y="1894"/>
                  </a:lnTo>
                  <a:lnTo>
                    <a:pt x="2891" y="1888"/>
                  </a:lnTo>
                  <a:lnTo>
                    <a:pt x="2883" y="1884"/>
                  </a:lnTo>
                  <a:lnTo>
                    <a:pt x="2873" y="1882"/>
                  </a:lnTo>
                  <a:lnTo>
                    <a:pt x="2864" y="1881"/>
                  </a:lnTo>
                  <a:lnTo>
                    <a:pt x="2864" y="1881"/>
                  </a:lnTo>
                  <a:lnTo>
                    <a:pt x="2856" y="1882"/>
                  </a:lnTo>
                  <a:lnTo>
                    <a:pt x="2847" y="1884"/>
                  </a:lnTo>
                  <a:lnTo>
                    <a:pt x="2841" y="1889"/>
                  </a:lnTo>
                  <a:lnTo>
                    <a:pt x="2836" y="1895"/>
                  </a:lnTo>
                  <a:lnTo>
                    <a:pt x="2832" y="1903"/>
                  </a:lnTo>
                  <a:lnTo>
                    <a:pt x="2830" y="1913"/>
                  </a:lnTo>
                  <a:lnTo>
                    <a:pt x="2828" y="1925"/>
                  </a:lnTo>
                  <a:lnTo>
                    <a:pt x="2827" y="1938"/>
                  </a:lnTo>
                  <a:lnTo>
                    <a:pt x="2827" y="2072"/>
                  </a:lnTo>
                  <a:lnTo>
                    <a:pt x="2776" y="2072"/>
                  </a:lnTo>
                  <a:lnTo>
                    <a:pt x="2776" y="1825"/>
                  </a:lnTo>
                  <a:lnTo>
                    <a:pt x="2827" y="1825"/>
                  </a:lnTo>
                  <a:lnTo>
                    <a:pt x="2827" y="1846"/>
                  </a:lnTo>
                  <a:lnTo>
                    <a:pt x="2827" y="1846"/>
                  </a:lnTo>
                  <a:lnTo>
                    <a:pt x="2832" y="1840"/>
                  </a:lnTo>
                  <a:lnTo>
                    <a:pt x="2837" y="1834"/>
                  </a:lnTo>
                  <a:lnTo>
                    <a:pt x="2842" y="1830"/>
                  </a:lnTo>
                  <a:lnTo>
                    <a:pt x="2849" y="1827"/>
                  </a:lnTo>
                  <a:lnTo>
                    <a:pt x="2854" y="1823"/>
                  </a:lnTo>
                  <a:lnTo>
                    <a:pt x="2860" y="1822"/>
                  </a:lnTo>
                  <a:lnTo>
                    <a:pt x="2866" y="1820"/>
                  </a:lnTo>
                  <a:lnTo>
                    <a:pt x="2873" y="1819"/>
                  </a:lnTo>
                  <a:lnTo>
                    <a:pt x="2873" y="1819"/>
                  </a:lnTo>
                  <a:lnTo>
                    <a:pt x="2884" y="1820"/>
                  </a:lnTo>
                  <a:lnTo>
                    <a:pt x="2894" y="1824"/>
                  </a:lnTo>
                  <a:lnTo>
                    <a:pt x="2904" y="1828"/>
                  </a:lnTo>
                  <a:lnTo>
                    <a:pt x="2912" y="1834"/>
                  </a:lnTo>
                  <a:lnTo>
                    <a:pt x="2898" y="1894"/>
                  </a:lnTo>
                  <a:close/>
                  <a:moveTo>
                    <a:pt x="559" y="1766"/>
                  </a:moveTo>
                  <a:lnTo>
                    <a:pt x="559" y="1790"/>
                  </a:lnTo>
                  <a:lnTo>
                    <a:pt x="507" y="1790"/>
                  </a:lnTo>
                  <a:lnTo>
                    <a:pt x="507" y="1728"/>
                  </a:lnTo>
                  <a:lnTo>
                    <a:pt x="559" y="1728"/>
                  </a:lnTo>
                  <a:lnTo>
                    <a:pt x="559" y="1766"/>
                  </a:lnTo>
                  <a:close/>
                  <a:moveTo>
                    <a:pt x="919" y="1825"/>
                  </a:moveTo>
                  <a:lnTo>
                    <a:pt x="971" y="1825"/>
                  </a:lnTo>
                  <a:lnTo>
                    <a:pt x="971" y="1952"/>
                  </a:lnTo>
                  <a:lnTo>
                    <a:pt x="971" y="2072"/>
                  </a:lnTo>
                  <a:lnTo>
                    <a:pt x="919" y="2072"/>
                  </a:lnTo>
                  <a:lnTo>
                    <a:pt x="919" y="1825"/>
                  </a:lnTo>
                  <a:close/>
                  <a:moveTo>
                    <a:pt x="971" y="1759"/>
                  </a:moveTo>
                  <a:lnTo>
                    <a:pt x="971" y="1790"/>
                  </a:lnTo>
                  <a:lnTo>
                    <a:pt x="919" y="1790"/>
                  </a:lnTo>
                  <a:lnTo>
                    <a:pt x="919" y="1728"/>
                  </a:lnTo>
                  <a:lnTo>
                    <a:pt x="971" y="1728"/>
                  </a:lnTo>
                  <a:lnTo>
                    <a:pt x="971" y="1759"/>
                  </a:lnTo>
                  <a:close/>
                  <a:moveTo>
                    <a:pt x="2395" y="2275"/>
                  </a:moveTo>
                  <a:lnTo>
                    <a:pt x="2395" y="2275"/>
                  </a:lnTo>
                  <a:lnTo>
                    <a:pt x="2390" y="2270"/>
                  </a:lnTo>
                  <a:lnTo>
                    <a:pt x="2384" y="2265"/>
                  </a:lnTo>
                  <a:lnTo>
                    <a:pt x="2379" y="2262"/>
                  </a:lnTo>
                  <a:lnTo>
                    <a:pt x="2373" y="2258"/>
                  </a:lnTo>
                  <a:lnTo>
                    <a:pt x="2368" y="2256"/>
                  </a:lnTo>
                  <a:lnTo>
                    <a:pt x="2361" y="2254"/>
                  </a:lnTo>
                  <a:lnTo>
                    <a:pt x="2348" y="2252"/>
                  </a:lnTo>
                  <a:lnTo>
                    <a:pt x="2348" y="2252"/>
                  </a:lnTo>
                  <a:lnTo>
                    <a:pt x="2339" y="2253"/>
                  </a:lnTo>
                  <a:lnTo>
                    <a:pt x="2330" y="2254"/>
                  </a:lnTo>
                  <a:lnTo>
                    <a:pt x="2322" y="2258"/>
                  </a:lnTo>
                  <a:lnTo>
                    <a:pt x="2314" y="2262"/>
                  </a:lnTo>
                  <a:lnTo>
                    <a:pt x="2306" y="2267"/>
                  </a:lnTo>
                  <a:lnTo>
                    <a:pt x="2300" y="2272"/>
                  </a:lnTo>
                  <a:lnTo>
                    <a:pt x="2294" y="2279"/>
                  </a:lnTo>
                  <a:lnTo>
                    <a:pt x="2288" y="2286"/>
                  </a:lnTo>
                  <a:lnTo>
                    <a:pt x="2283" y="2295"/>
                  </a:lnTo>
                  <a:lnTo>
                    <a:pt x="2278" y="2305"/>
                  </a:lnTo>
                  <a:lnTo>
                    <a:pt x="2275" y="2315"/>
                  </a:lnTo>
                  <a:lnTo>
                    <a:pt x="2272" y="2327"/>
                  </a:lnTo>
                  <a:lnTo>
                    <a:pt x="2269" y="2338"/>
                  </a:lnTo>
                  <a:lnTo>
                    <a:pt x="2268" y="2352"/>
                  </a:lnTo>
                  <a:lnTo>
                    <a:pt x="2267" y="2365"/>
                  </a:lnTo>
                  <a:lnTo>
                    <a:pt x="2266" y="2380"/>
                  </a:lnTo>
                  <a:lnTo>
                    <a:pt x="2266" y="2380"/>
                  </a:lnTo>
                  <a:lnTo>
                    <a:pt x="2267" y="2395"/>
                  </a:lnTo>
                  <a:lnTo>
                    <a:pt x="2268" y="2408"/>
                  </a:lnTo>
                  <a:lnTo>
                    <a:pt x="2269" y="2422"/>
                  </a:lnTo>
                  <a:lnTo>
                    <a:pt x="2272" y="2435"/>
                  </a:lnTo>
                  <a:lnTo>
                    <a:pt x="2274" y="2446"/>
                  </a:lnTo>
                  <a:lnTo>
                    <a:pt x="2278" y="2457"/>
                  </a:lnTo>
                  <a:lnTo>
                    <a:pt x="2282" y="2467"/>
                  </a:lnTo>
                  <a:lnTo>
                    <a:pt x="2288" y="2476"/>
                  </a:lnTo>
                  <a:lnTo>
                    <a:pt x="2293" y="2484"/>
                  </a:lnTo>
                  <a:lnTo>
                    <a:pt x="2299" y="2490"/>
                  </a:lnTo>
                  <a:lnTo>
                    <a:pt x="2305" y="2497"/>
                  </a:lnTo>
                  <a:lnTo>
                    <a:pt x="2313" y="2502"/>
                  </a:lnTo>
                  <a:lnTo>
                    <a:pt x="2321" y="2506"/>
                  </a:lnTo>
                  <a:lnTo>
                    <a:pt x="2329" y="2509"/>
                  </a:lnTo>
                  <a:lnTo>
                    <a:pt x="2338" y="2510"/>
                  </a:lnTo>
                  <a:lnTo>
                    <a:pt x="2347" y="2511"/>
                  </a:lnTo>
                  <a:lnTo>
                    <a:pt x="2347" y="2511"/>
                  </a:lnTo>
                  <a:lnTo>
                    <a:pt x="2353" y="2510"/>
                  </a:lnTo>
                  <a:lnTo>
                    <a:pt x="2360" y="2509"/>
                  </a:lnTo>
                  <a:lnTo>
                    <a:pt x="2367" y="2508"/>
                  </a:lnTo>
                  <a:lnTo>
                    <a:pt x="2372" y="2505"/>
                  </a:lnTo>
                  <a:lnTo>
                    <a:pt x="2378" y="2502"/>
                  </a:lnTo>
                  <a:lnTo>
                    <a:pt x="2384" y="2498"/>
                  </a:lnTo>
                  <a:lnTo>
                    <a:pt x="2390" y="2493"/>
                  </a:lnTo>
                  <a:lnTo>
                    <a:pt x="2395" y="2487"/>
                  </a:lnTo>
                  <a:lnTo>
                    <a:pt x="2395" y="2505"/>
                  </a:lnTo>
                  <a:lnTo>
                    <a:pt x="2447" y="2505"/>
                  </a:lnTo>
                  <a:lnTo>
                    <a:pt x="2447" y="2155"/>
                  </a:lnTo>
                  <a:lnTo>
                    <a:pt x="2395" y="2186"/>
                  </a:lnTo>
                  <a:lnTo>
                    <a:pt x="2395" y="2275"/>
                  </a:lnTo>
                  <a:close/>
                  <a:moveTo>
                    <a:pt x="2358" y="2455"/>
                  </a:moveTo>
                  <a:lnTo>
                    <a:pt x="2358" y="2455"/>
                  </a:lnTo>
                  <a:lnTo>
                    <a:pt x="2351" y="2454"/>
                  </a:lnTo>
                  <a:lnTo>
                    <a:pt x="2345" y="2451"/>
                  </a:lnTo>
                  <a:lnTo>
                    <a:pt x="2338" y="2447"/>
                  </a:lnTo>
                  <a:lnTo>
                    <a:pt x="2331" y="2440"/>
                  </a:lnTo>
                  <a:lnTo>
                    <a:pt x="2326" y="2430"/>
                  </a:lnTo>
                  <a:lnTo>
                    <a:pt x="2322" y="2417"/>
                  </a:lnTo>
                  <a:lnTo>
                    <a:pt x="2320" y="2399"/>
                  </a:lnTo>
                  <a:lnTo>
                    <a:pt x="2319" y="2377"/>
                  </a:lnTo>
                  <a:lnTo>
                    <a:pt x="2319" y="2377"/>
                  </a:lnTo>
                  <a:lnTo>
                    <a:pt x="2320" y="2359"/>
                  </a:lnTo>
                  <a:lnTo>
                    <a:pt x="2322" y="2343"/>
                  </a:lnTo>
                  <a:lnTo>
                    <a:pt x="2326" y="2331"/>
                  </a:lnTo>
                  <a:lnTo>
                    <a:pt x="2331" y="2322"/>
                  </a:lnTo>
                  <a:lnTo>
                    <a:pt x="2338" y="2316"/>
                  </a:lnTo>
                  <a:lnTo>
                    <a:pt x="2344" y="2311"/>
                  </a:lnTo>
                  <a:lnTo>
                    <a:pt x="2351" y="2310"/>
                  </a:lnTo>
                  <a:lnTo>
                    <a:pt x="2357" y="2308"/>
                  </a:lnTo>
                  <a:lnTo>
                    <a:pt x="2357" y="2308"/>
                  </a:lnTo>
                  <a:lnTo>
                    <a:pt x="2365" y="2310"/>
                  </a:lnTo>
                  <a:lnTo>
                    <a:pt x="2371" y="2311"/>
                  </a:lnTo>
                  <a:lnTo>
                    <a:pt x="2376" y="2313"/>
                  </a:lnTo>
                  <a:lnTo>
                    <a:pt x="2381" y="2317"/>
                  </a:lnTo>
                  <a:lnTo>
                    <a:pt x="2385" y="2321"/>
                  </a:lnTo>
                  <a:lnTo>
                    <a:pt x="2390" y="2324"/>
                  </a:lnTo>
                  <a:lnTo>
                    <a:pt x="2395" y="2333"/>
                  </a:lnTo>
                  <a:lnTo>
                    <a:pt x="2395" y="2430"/>
                  </a:lnTo>
                  <a:lnTo>
                    <a:pt x="2395" y="2430"/>
                  </a:lnTo>
                  <a:lnTo>
                    <a:pt x="2389" y="2439"/>
                  </a:lnTo>
                  <a:lnTo>
                    <a:pt x="2381" y="2446"/>
                  </a:lnTo>
                  <a:lnTo>
                    <a:pt x="2376" y="2450"/>
                  </a:lnTo>
                  <a:lnTo>
                    <a:pt x="2371" y="2452"/>
                  </a:lnTo>
                  <a:lnTo>
                    <a:pt x="2365" y="2454"/>
                  </a:lnTo>
                  <a:lnTo>
                    <a:pt x="2358" y="2455"/>
                  </a:lnTo>
                  <a:lnTo>
                    <a:pt x="2358" y="2455"/>
                  </a:lnTo>
                  <a:close/>
                  <a:moveTo>
                    <a:pt x="634" y="2327"/>
                  </a:moveTo>
                  <a:lnTo>
                    <a:pt x="634" y="2327"/>
                  </a:lnTo>
                  <a:lnTo>
                    <a:pt x="627" y="2322"/>
                  </a:lnTo>
                  <a:lnTo>
                    <a:pt x="618" y="2317"/>
                  </a:lnTo>
                  <a:lnTo>
                    <a:pt x="609" y="2315"/>
                  </a:lnTo>
                  <a:lnTo>
                    <a:pt x="599" y="2313"/>
                  </a:lnTo>
                  <a:lnTo>
                    <a:pt x="599" y="2313"/>
                  </a:lnTo>
                  <a:lnTo>
                    <a:pt x="591" y="2315"/>
                  </a:lnTo>
                  <a:lnTo>
                    <a:pt x="583" y="2317"/>
                  </a:lnTo>
                  <a:lnTo>
                    <a:pt x="577" y="2322"/>
                  </a:lnTo>
                  <a:lnTo>
                    <a:pt x="571" y="2328"/>
                  </a:lnTo>
                  <a:lnTo>
                    <a:pt x="567" y="2336"/>
                  </a:lnTo>
                  <a:lnTo>
                    <a:pt x="565" y="2345"/>
                  </a:lnTo>
                  <a:lnTo>
                    <a:pt x="563" y="2358"/>
                  </a:lnTo>
                  <a:lnTo>
                    <a:pt x="562" y="2371"/>
                  </a:lnTo>
                  <a:lnTo>
                    <a:pt x="562" y="2505"/>
                  </a:lnTo>
                  <a:lnTo>
                    <a:pt x="511" y="2505"/>
                  </a:lnTo>
                  <a:lnTo>
                    <a:pt x="511" y="2258"/>
                  </a:lnTo>
                  <a:lnTo>
                    <a:pt x="562" y="2258"/>
                  </a:lnTo>
                  <a:lnTo>
                    <a:pt x="562" y="2279"/>
                  </a:lnTo>
                  <a:lnTo>
                    <a:pt x="562" y="2279"/>
                  </a:lnTo>
                  <a:lnTo>
                    <a:pt x="567" y="2273"/>
                  </a:lnTo>
                  <a:lnTo>
                    <a:pt x="572" y="2267"/>
                  </a:lnTo>
                  <a:lnTo>
                    <a:pt x="578" y="2263"/>
                  </a:lnTo>
                  <a:lnTo>
                    <a:pt x="584" y="2259"/>
                  </a:lnTo>
                  <a:lnTo>
                    <a:pt x="589" y="2256"/>
                  </a:lnTo>
                  <a:lnTo>
                    <a:pt x="595" y="2254"/>
                  </a:lnTo>
                  <a:lnTo>
                    <a:pt x="603" y="2253"/>
                  </a:lnTo>
                  <a:lnTo>
                    <a:pt x="609" y="2252"/>
                  </a:lnTo>
                  <a:lnTo>
                    <a:pt x="609" y="2252"/>
                  </a:lnTo>
                  <a:lnTo>
                    <a:pt x="619" y="2253"/>
                  </a:lnTo>
                  <a:lnTo>
                    <a:pt x="630" y="2257"/>
                  </a:lnTo>
                  <a:lnTo>
                    <a:pt x="640" y="2262"/>
                  </a:lnTo>
                  <a:lnTo>
                    <a:pt x="648" y="2268"/>
                  </a:lnTo>
                  <a:lnTo>
                    <a:pt x="634" y="2327"/>
                  </a:lnTo>
                  <a:close/>
                  <a:moveTo>
                    <a:pt x="227" y="2258"/>
                  </a:moveTo>
                  <a:lnTo>
                    <a:pt x="278" y="2258"/>
                  </a:lnTo>
                  <a:lnTo>
                    <a:pt x="219" y="2505"/>
                  </a:lnTo>
                  <a:lnTo>
                    <a:pt x="174" y="2505"/>
                  </a:lnTo>
                  <a:lnTo>
                    <a:pt x="151" y="2403"/>
                  </a:lnTo>
                  <a:lnTo>
                    <a:pt x="151" y="2403"/>
                  </a:lnTo>
                  <a:lnTo>
                    <a:pt x="139" y="2349"/>
                  </a:lnTo>
                  <a:lnTo>
                    <a:pt x="139" y="2349"/>
                  </a:lnTo>
                  <a:lnTo>
                    <a:pt x="134" y="2375"/>
                  </a:lnTo>
                  <a:lnTo>
                    <a:pt x="128" y="2404"/>
                  </a:lnTo>
                  <a:lnTo>
                    <a:pt x="104" y="2505"/>
                  </a:lnTo>
                  <a:lnTo>
                    <a:pt x="59" y="2505"/>
                  </a:lnTo>
                  <a:lnTo>
                    <a:pt x="59" y="2504"/>
                  </a:lnTo>
                  <a:lnTo>
                    <a:pt x="0" y="2258"/>
                  </a:lnTo>
                  <a:lnTo>
                    <a:pt x="54" y="2258"/>
                  </a:lnTo>
                  <a:lnTo>
                    <a:pt x="73" y="2350"/>
                  </a:lnTo>
                  <a:lnTo>
                    <a:pt x="73" y="2350"/>
                  </a:lnTo>
                  <a:lnTo>
                    <a:pt x="78" y="2380"/>
                  </a:lnTo>
                  <a:lnTo>
                    <a:pt x="83" y="2411"/>
                  </a:lnTo>
                  <a:lnTo>
                    <a:pt x="83" y="2411"/>
                  </a:lnTo>
                  <a:lnTo>
                    <a:pt x="90" y="2380"/>
                  </a:lnTo>
                  <a:lnTo>
                    <a:pt x="96" y="2349"/>
                  </a:lnTo>
                  <a:lnTo>
                    <a:pt x="118" y="2258"/>
                  </a:lnTo>
                  <a:lnTo>
                    <a:pt x="162" y="2258"/>
                  </a:lnTo>
                  <a:lnTo>
                    <a:pt x="184" y="2349"/>
                  </a:lnTo>
                  <a:lnTo>
                    <a:pt x="184" y="2349"/>
                  </a:lnTo>
                  <a:lnTo>
                    <a:pt x="190" y="2379"/>
                  </a:lnTo>
                  <a:lnTo>
                    <a:pt x="197" y="2412"/>
                  </a:lnTo>
                  <a:lnTo>
                    <a:pt x="197" y="2412"/>
                  </a:lnTo>
                  <a:lnTo>
                    <a:pt x="201" y="2383"/>
                  </a:lnTo>
                  <a:lnTo>
                    <a:pt x="207" y="2349"/>
                  </a:lnTo>
                  <a:lnTo>
                    <a:pt x="227" y="2258"/>
                  </a:lnTo>
                  <a:close/>
                  <a:moveTo>
                    <a:pt x="383" y="2252"/>
                  </a:moveTo>
                  <a:lnTo>
                    <a:pt x="383" y="2252"/>
                  </a:lnTo>
                  <a:lnTo>
                    <a:pt x="374" y="2253"/>
                  </a:lnTo>
                  <a:lnTo>
                    <a:pt x="363" y="2254"/>
                  </a:lnTo>
                  <a:lnTo>
                    <a:pt x="354" y="2258"/>
                  </a:lnTo>
                  <a:lnTo>
                    <a:pt x="346" y="2262"/>
                  </a:lnTo>
                  <a:lnTo>
                    <a:pt x="337" y="2267"/>
                  </a:lnTo>
                  <a:lnTo>
                    <a:pt x="329" y="2273"/>
                  </a:lnTo>
                  <a:lnTo>
                    <a:pt x="322" y="2280"/>
                  </a:lnTo>
                  <a:lnTo>
                    <a:pt x="315" y="2289"/>
                  </a:lnTo>
                  <a:lnTo>
                    <a:pt x="309" y="2297"/>
                  </a:lnTo>
                  <a:lnTo>
                    <a:pt x="304" y="2307"/>
                  </a:lnTo>
                  <a:lnTo>
                    <a:pt x="299" y="2318"/>
                  </a:lnTo>
                  <a:lnTo>
                    <a:pt x="296" y="2329"/>
                  </a:lnTo>
                  <a:lnTo>
                    <a:pt x="292" y="2342"/>
                  </a:lnTo>
                  <a:lnTo>
                    <a:pt x="290" y="2354"/>
                  </a:lnTo>
                  <a:lnTo>
                    <a:pt x="288" y="2367"/>
                  </a:lnTo>
                  <a:lnTo>
                    <a:pt x="288" y="2382"/>
                  </a:lnTo>
                  <a:lnTo>
                    <a:pt x="288" y="2382"/>
                  </a:lnTo>
                  <a:lnTo>
                    <a:pt x="288" y="2396"/>
                  </a:lnTo>
                  <a:lnTo>
                    <a:pt x="290" y="2409"/>
                  </a:lnTo>
                  <a:lnTo>
                    <a:pt x="292" y="2422"/>
                  </a:lnTo>
                  <a:lnTo>
                    <a:pt x="296" y="2434"/>
                  </a:lnTo>
                  <a:lnTo>
                    <a:pt x="299" y="2445"/>
                  </a:lnTo>
                  <a:lnTo>
                    <a:pt x="304" y="2456"/>
                  </a:lnTo>
                  <a:lnTo>
                    <a:pt x="309" y="2466"/>
                  </a:lnTo>
                  <a:lnTo>
                    <a:pt x="315" y="2474"/>
                  </a:lnTo>
                  <a:lnTo>
                    <a:pt x="322" y="2483"/>
                  </a:lnTo>
                  <a:lnTo>
                    <a:pt x="329" y="2490"/>
                  </a:lnTo>
                  <a:lnTo>
                    <a:pt x="337" y="2497"/>
                  </a:lnTo>
                  <a:lnTo>
                    <a:pt x="346" y="2502"/>
                  </a:lnTo>
                  <a:lnTo>
                    <a:pt x="354" y="2505"/>
                  </a:lnTo>
                  <a:lnTo>
                    <a:pt x="363" y="2509"/>
                  </a:lnTo>
                  <a:lnTo>
                    <a:pt x="374" y="2510"/>
                  </a:lnTo>
                  <a:lnTo>
                    <a:pt x="383" y="2511"/>
                  </a:lnTo>
                  <a:lnTo>
                    <a:pt x="383" y="2511"/>
                  </a:lnTo>
                  <a:lnTo>
                    <a:pt x="393" y="2510"/>
                  </a:lnTo>
                  <a:lnTo>
                    <a:pt x="404" y="2509"/>
                  </a:lnTo>
                  <a:lnTo>
                    <a:pt x="413" y="2505"/>
                  </a:lnTo>
                  <a:lnTo>
                    <a:pt x="422" y="2502"/>
                  </a:lnTo>
                  <a:lnTo>
                    <a:pt x="430" y="2497"/>
                  </a:lnTo>
                  <a:lnTo>
                    <a:pt x="438" y="2490"/>
                  </a:lnTo>
                  <a:lnTo>
                    <a:pt x="445" y="2483"/>
                  </a:lnTo>
                  <a:lnTo>
                    <a:pt x="452" y="2474"/>
                  </a:lnTo>
                  <a:lnTo>
                    <a:pt x="458" y="2466"/>
                  </a:lnTo>
                  <a:lnTo>
                    <a:pt x="463" y="2456"/>
                  </a:lnTo>
                  <a:lnTo>
                    <a:pt x="467" y="2445"/>
                  </a:lnTo>
                  <a:lnTo>
                    <a:pt x="471" y="2434"/>
                  </a:lnTo>
                  <a:lnTo>
                    <a:pt x="475" y="2422"/>
                  </a:lnTo>
                  <a:lnTo>
                    <a:pt x="477" y="2409"/>
                  </a:lnTo>
                  <a:lnTo>
                    <a:pt x="479" y="2396"/>
                  </a:lnTo>
                  <a:lnTo>
                    <a:pt x="479" y="2382"/>
                  </a:lnTo>
                  <a:lnTo>
                    <a:pt x="479" y="2382"/>
                  </a:lnTo>
                  <a:lnTo>
                    <a:pt x="479" y="2367"/>
                  </a:lnTo>
                  <a:lnTo>
                    <a:pt x="477" y="2354"/>
                  </a:lnTo>
                  <a:lnTo>
                    <a:pt x="475" y="2342"/>
                  </a:lnTo>
                  <a:lnTo>
                    <a:pt x="471" y="2329"/>
                  </a:lnTo>
                  <a:lnTo>
                    <a:pt x="467" y="2318"/>
                  </a:lnTo>
                  <a:lnTo>
                    <a:pt x="463" y="2307"/>
                  </a:lnTo>
                  <a:lnTo>
                    <a:pt x="458" y="2297"/>
                  </a:lnTo>
                  <a:lnTo>
                    <a:pt x="452" y="2289"/>
                  </a:lnTo>
                  <a:lnTo>
                    <a:pt x="445" y="2280"/>
                  </a:lnTo>
                  <a:lnTo>
                    <a:pt x="438" y="2273"/>
                  </a:lnTo>
                  <a:lnTo>
                    <a:pt x="430" y="2267"/>
                  </a:lnTo>
                  <a:lnTo>
                    <a:pt x="422" y="2262"/>
                  </a:lnTo>
                  <a:lnTo>
                    <a:pt x="413" y="2258"/>
                  </a:lnTo>
                  <a:lnTo>
                    <a:pt x="404" y="2254"/>
                  </a:lnTo>
                  <a:lnTo>
                    <a:pt x="393" y="2253"/>
                  </a:lnTo>
                  <a:lnTo>
                    <a:pt x="383" y="2252"/>
                  </a:lnTo>
                  <a:lnTo>
                    <a:pt x="383" y="2252"/>
                  </a:lnTo>
                  <a:close/>
                  <a:moveTo>
                    <a:pt x="383" y="2454"/>
                  </a:moveTo>
                  <a:lnTo>
                    <a:pt x="383" y="2454"/>
                  </a:lnTo>
                  <a:lnTo>
                    <a:pt x="374" y="2452"/>
                  </a:lnTo>
                  <a:lnTo>
                    <a:pt x="365" y="2449"/>
                  </a:lnTo>
                  <a:lnTo>
                    <a:pt x="359" y="2442"/>
                  </a:lnTo>
                  <a:lnTo>
                    <a:pt x="353" y="2434"/>
                  </a:lnTo>
                  <a:lnTo>
                    <a:pt x="348" y="2424"/>
                  </a:lnTo>
                  <a:lnTo>
                    <a:pt x="343" y="2412"/>
                  </a:lnTo>
                  <a:lnTo>
                    <a:pt x="341" y="2397"/>
                  </a:lnTo>
                  <a:lnTo>
                    <a:pt x="341" y="2382"/>
                  </a:lnTo>
                  <a:lnTo>
                    <a:pt x="341" y="2382"/>
                  </a:lnTo>
                  <a:lnTo>
                    <a:pt x="341" y="2366"/>
                  </a:lnTo>
                  <a:lnTo>
                    <a:pt x="343" y="2352"/>
                  </a:lnTo>
                  <a:lnTo>
                    <a:pt x="348" y="2340"/>
                  </a:lnTo>
                  <a:lnTo>
                    <a:pt x="353" y="2329"/>
                  </a:lnTo>
                  <a:lnTo>
                    <a:pt x="359" y="2321"/>
                  </a:lnTo>
                  <a:lnTo>
                    <a:pt x="365" y="2315"/>
                  </a:lnTo>
                  <a:lnTo>
                    <a:pt x="374" y="2311"/>
                  </a:lnTo>
                  <a:lnTo>
                    <a:pt x="383" y="2310"/>
                  </a:lnTo>
                  <a:lnTo>
                    <a:pt x="383" y="2310"/>
                  </a:lnTo>
                  <a:lnTo>
                    <a:pt x="392" y="2311"/>
                  </a:lnTo>
                  <a:lnTo>
                    <a:pt x="401" y="2315"/>
                  </a:lnTo>
                  <a:lnTo>
                    <a:pt x="408" y="2321"/>
                  </a:lnTo>
                  <a:lnTo>
                    <a:pt x="414" y="2329"/>
                  </a:lnTo>
                  <a:lnTo>
                    <a:pt x="419" y="2340"/>
                  </a:lnTo>
                  <a:lnTo>
                    <a:pt x="423" y="2352"/>
                  </a:lnTo>
                  <a:lnTo>
                    <a:pt x="425" y="2366"/>
                  </a:lnTo>
                  <a:lnTo>
                    <a:pt x="426" y="2382"/>
                  </a:lnTo>
                  <a:lnTo>
                    <a:pt x="426" y="2382"/>
                  </a:lnTo>
                  <a:lnTo>
                    <a:pt x="425" y="2397"/>
                  </a:lnTo>
                  <a:lnTo>
                    <a:pt x="423" y="2412"/>
                  </a:lnTo>
                  <a:lnTo>
                    <a:pt x="419" y="2424"/>
                  </a:lnTo>
                  <a:lnTo>
                    <a:pt x="414" y="2434"/>
                  </a:lnTo>
                  <a:lnTo>
                    <a:pt x="408" y="2442"/>
                  </a:lnTo>
                  <a:lnTo>
                    <a:pt x="401" y="2449"/>
                  </a:lnTo>
                  <a:lnTo>
                    <a:pt x="392" y="2452"/>
                  </a:lnTo>
                  <a:lnTo>
                    <a:pt x="383" y="2454"/>
                  </a:lnTo>
                  <a:lnTo>
                    <a:pt x="383" y="2454"/>
                  </a:lnTo>
                  <a:close/>
                  <a:moveTo>
                    <a:pt x="2140" y="2327"/>
                  </a:moveTo>
                  <a:lnTo>
                    <a:pt x="2140" y="2327"/>
                  </a:lnTo>
                  <a:lnTo>
                    <a:pt x="2131" y="2322"/>
                  </a:lnTo>
                  <a:lnTo>
                    <a:pt x="2123" y="2317"/>
                  </a:lnTo>
                  <a:lnTo>
                    <a:pt x="2114" y="2315"/>
                  </a:lnTo>
                  <a:lnTo>
                    <a:pt x="2105" y="2313"/>
                  </a:lnTo>
                  <a:lnTo>
                    <a:pt x="2105" y="2313"/>
                  </a:lnTo>
                  <a:lnTo>
                    <a:pt x="2096" y="2315"/>
                  </a:lnTo>
                  <a:lnTo>
                    <a:pt x="2089" y="2317"/>
                  </a:lnTo>
                  <a:lnTo>
                    <a:pt x="2083" y="2322"/>
                  </a:lnTo>
                  <a:lnTo>
                    <a:pt x="2077" y="2328"/>
                  </a:lnTo>
                  <a:lnTo>
                    <a:pt x="2073" y="2336"/>
                  </a:lnTo>
                  <a:lnTo>
                    <a:pt x="2070" y="2345"/>
                  </a:lnTo>
                  <a:lnTo>
                    <a:pt x="2068" y="2358"/>
                  </a:lnTo>
                  <a:lnTo>
                    <a:pt x="2068" y="2371"/>
                  </a:lnTo>
                  <a:lnTo>
                    <a:pt x="2068" y="2505"/>
                  </a:lnTo>
                  <a:lnTo>
                    <a:pt x="2016" y="2505"/>
                  </a:lnTo>
                  <a:lnTo>
                    <a:pt x="2016" y="2258"/>
                  </a:lnTo>
                  <a:lnTo>
                    <a:pt x="2068" y="2258"/>
                  </a:lnTo>
                  <a:lnTo>
                    <a:pt x="2068" y="2279"/>
                  </a:lnTo>
                  <a:lnTo>
                    <a:pt x="2068" y="2279"/>
                  </a:lnTo>
                  <a:lnTo>
                    <a:pt x="2072" y="2273"/>
                  </a:lnTo>
                  <a:lnTo>
                    <a:pt x="2077" y="2267"/>
                  </a:lnTo>
                  <a:lnTo>
                    <a:pt x="2083" y="2263"/>
                  </a:lnTo>
                  <a:lnTo>
                    <a:pt x="2089" y="2259"/>
                  </a:lnTo>
                  <a:lnTo>
                    <a:pt x="2095" y="2256"/>
                  </a:lnTo>
                  <a:lnTo>
                    <a:pt x="2101" y="2254"/>
                  </a:lnTo>
                  <a:lnTo>
                    <a:pt x="2108" y="2253"/>
                  </a:lnTo>
                  <a:lnTo>
                    <a:pt x="2114" y="2252"/>
                  </a:lnTo>
                  <a:lnTo>
                    <a:pt x="2114" y="2252"/>
                  </a:lnTo>
                  <a:lnTo>
                    <a:pt x="2124" y="2253"/>
                  </a:lnTo>
                  <a:lnTo>
                    <a:pt x="2135" y="2257"/>
                  </a:lnTo>
                  <a:lnTo>
                    <a:pt x="2145" y="2262"/>
                  </a:lnTo>
                  <a:lnTo>
                    <a:pt x="2153" y="2268"/>
                  </a:lnTo>
                  <a:lnTo>
                    <a:pt x="2140" y="2327"/>
                  </a:lnTo>
                  <a:close/>
                  <a:moveTo>
                    <a:pt x="1732" y="2258"/>
                  </a:moveTo>
                  <a:lnTo>
                    <a:pt x="1783" y="2258"/>
                  </a:lnTo>
                  <a:lnTo>
                    <a:pt x="1723" y="2505"/>
                  </a:lnTo>
                  <a:lnTo>
                    <a:pt x="1679" y="2505"/>
                  </a:lnTo>
                  <a:lnTo>
                    <a:pt x="1656" y="2403"/>
                  </a:lnTo>
                  <a:lnTo>
                    <a:pt x="1656" y="2403"/>
                  </a:lnTo>
                  <a:lnTo>
                    <a:pt x="1644" y="2349"/>
                  </a:lnTo>
                  <a:lnTo>
                    <a:pt x="1644" y="2349"/>
                  </a:lnTo>
                  <a:lnTo>
                    <a:pt x="1639" y="2375"/>
                  </a:lnTo>
                  <a:lnTo>
                    <a:pt x="1633" y="2404"/>
                  </a:lnTo>
                  <a:lnTo>
                    <a:pt x="1610" y="2505"/>
                  </a:lnTo>
                  <a:lnTo>
                    <a:pt x="1565" y="2505"/>
                  </a:lnTo>
                  <a:lnTo>
                    <a:pt x="1564" y="2504"/>
                  </a:lnTo>
                  <a:lnTo>
                    <a:pt x="1506" y="2258"/>
                  </a:lnTo>
                  <a:lnTo>
                    <a:pt x="1559" y="2258"/>
                  </a:lnTo>
                  <a:lnTo>
                    <a:pt x="1579" y="2350"/>
                  </a:lnTo>
                  <a:lnTo>
                    <a:pt x="1579" y="2350"/>
                  </a:lnTo>
                  <a:lnTo>
                    <a:pt x="1584" y="2380"/>
                  </a:lnTo>
                  <a:lnTo>
                    <a:pt x="1589" y="2411"/>
                  </a:lnTo>
                  <a:lnTo>
                    <a:pt x="1589" y="2411"/>
                  </a:lnTo>
                  <a:lnTo>
                    <a:pt x="1594" y="2380"/>
                  </a:lnTo>
                  <a:lnTo>
                    <a:pt x="1602" y="2349"/>
                  </a:lnTo>
                  <a:lnTo>
                    <a:pt x="1624" y="2258"/>
                  </a:lnTo>
                  <a:lnTo>
                    <a:pt x="1667" y="2258"/>
                  </a:lnTo>
                  <a:lnTo>
                    <a:pt x="1689" y="2349"/>
                  </a:lnTo>
                  <a:lnTo>
                    <a:pt x="1689" y="2349"/>
                  </a:lnTo>
                  <a:lnTo>
                    <a:pt x="1695" y="2379"/>
                  </a:lnTo>
                  <a:lnTo>
                    <a:pt x="1702" y="2412"/>
                  </a:lnTo>
                  <a:lnTo>
                    <a:pt x="1702" y="2412"/>
                  </a:lnTo>
                  <a:lnTo>
                    <a:pt x="1707" y="2383"/>
                  </a:lnTo>
                  <a:lnTo>
                    <a:pt x="1713" y="2349"/>
                  </a:lnTo>
                  <a:lnTo>
                    <a:pt x="1732" y="2258"/>
                  </a:lnTo>
                  <a:close/>
                  <a:moveTo>
                    <a:pt x="1888" y="2252"/>
                  </a:moveTo>
                  <a:lnTo>
                    <a:pt x="1888" y="2252"/>
                  </a:lnTo>
                  <a:lnTo>
                    <a:pt x="1879" y="2253"/>
                  </a:lnTo>
                  <a:lnTo>
                    <a:pt x="1868" y="2254"/>
                  </a:lnTo>
                  <a:lnTo>
                    <a:pt x="1859" y="2258"/>
                  </a:lnTo>
                  <a:lnTo>
                    <a:pt x="1850" y="2262"/>
                  </a:lnTo>
                  <a:lnTo>
                    <a:pt x="1842" y="2267"/>
                  </a:lnTo>
                  <a:lnTo>
                    <a:pt x="1834" y="2274"/>
                  </a:lnTo>
                  <a:lnTo>
                    <a:pt x="1827" y="2280"/>
                  </a:lnTo>
                  <a:lnTo>
                    <a:pt x="1820" y="2289"/>
                  </a:lnTo>
                  <a:lnTo>
                    <a:pt x="1814" y="2297"/>
                  </a:lnTo>
                  <a:lnTo>
                    <a:pt x="1809" y="2307"/>
                  </a:lnTo>
                  <a:lnTo>
                    <a:pt x="1804" y="2318"/>
                  </a:lnTo>
                  <a:lnTo>
                    <a:pt x="1800" y="2329"/>
                  </a:lnTo>
                  <a:lnTo>
                    <a:pt x="1797" y="2342"/>
                  </a:lnTo>
                  <a:lnTo>
                    <a:pt x="1794" y="2355"/>
                  </a:lnTo>
                  <a:lnTo>
                    <a:pt x="1793" y="2367"/>
                  </a:lnTo>
                  <a:lnTo>
                    <a:pt x="1793" y="2382"/>
                  </a:lnTo>
                  <a:lnTo>
                    <a:pt x="1793" y="2382"/>
                  </a:lnTo>
                  <a:lnTo>
                    <a:pt x="1793" y="2396"/>
                  </a:lnTo>
                  <a:lnTo>
                    <a:pt x="1794" y="2409"/>
                  </a:lnTo>
                  <a:lnTo>
                    <a:pt x="1797" y="2422"/>
                  </a:lnTo>
                  <a:lnTo>
                    <a:pt x="1800" y="2434"/>
                  </a:lnTo>
                  <a:lnTo>
                    <a:pt x="1804" y="2445"/>
                  </a:lnTo>
                  <a:lnTo>
                    <a:pt x="1809" y="2456"/>
                  </a:lnTo>
                  <a:lnTo>
                    <a:pt x="1814" y="2466"/>
                  </a:lnTo>
                  <a:lnTo>
                    <a:pt x="1820" y="2474"/>
                  </a:lnTo>
                  <a:lnTo>
                    <a:pt x="1827" y="2483"/>
                  </a:lnTo>
                  <a:lnTo>
                    <a:pt x="1834" y="2490"/>
                  </a:lnTo>
                  <a:lnTo>
                    <a:pt x="1842" y="2497"/>
                  </a:lnTo>
                  <a:lnTo>
                    <a:pt x="1850" y="2502"/>
                  </a:lnTo>
                  <a:lnTo>
                    <a:pt x="1859" y="2505"/>
                  </a:lnTo>
                  <a:lnTo>
                    <a:pt x="1868" y="2509"/>
                  </a:lnTo>
                  <a:lnTo>
                    <a:pt x="1879" y="2510"/>
                  </a:lnTo>
                  <a:lnTo>
                    <a:pt x="1888" y="2511"/>
                  </a:lnTo>
                  <a:lnTo>
                    <a:pt x="1888" y="2511"/>
                  </a:lnTo>
                  <a:lnTo>
                    <a:pt x="1898" y="2510"/>
                  </a:lnTo>
                  <a:lnTo>
                    <a:pt x="1909" y="2509"/>
                  </a:lnTo>
                  <a:lnTo>
                    <a:pt x="1918" y="2505"/>
                  </a:lnTo>
                  <a:lnTo>
                    <a:pt x="1926" y="2502"/>
                  </a:lnTo>
                  <a:lnTo>
                    <a:pt x="1935" y="2497"/>
                  </a:lnTo>
                  <a:lnTo>
                    <a:pt x="1943" y="2490"/>
                  </a:lnTo>
                  <a:lnTo>
                    <a:pt x="1950" y="2483"/>
                  </a:lnTo>
                  <a:lnTo>
                    <a:pt x="1957" y="2474"/>
                  </a:lnTo>
                  <a:lnTo>
                    <a:pt x="1963" y="2466"/>
                  </a:lnTo>
                  <a:lnTo>
                    <a:pt x="1968" y="2456"/>
                  </a:lnTo>
                  <a:lnTo>
                    <a:pt x="1972" y="2445"/>
                  </a:lnTo>
                  <a:lnTo>
                    <a:pt x="1976" y="2434"/>
                  </a:lnTo>
                  <a:lnTo>
                    <a:pt x="1979" y="2422"/>
                  </a:lnTo>
                  <a:lnTo>
                    <a:pt x="1982" y="2409"/>
                  </a:lnTo>
                  <a:lnTo>
                    <a:pt x="1984" y="2396"/>
                  </a:lnTo>
                  <a:lnTo>
                    <a:pt x="1984" y="2382"/>
                  </a:lnTo>
                  <a:lnTo>
                    <a:pt x="1984" y="2382"/>
                  </a:lnTo>
                  <a:lnTo>
                    <a:pt x="1984" y="2367"/>
                  </a:lnTo>
                  <a:lnTo>
                    <a:pt x="1982" y="2355"/>
                  </a:lnTo>
                  <a:lnTo>
                    <a:pt x="1979" y="2342"/>
                  </a:lnTo>
                  <a:lnTo>
                    <a:pt x="1976" y="2329"/>
                  </a:lnTo>
                  <a:lnTo>
                    <a:pt x="1972" y="2318"/>
                  </a:lnTo>
                  <a:lnTo>
                    <a:pt x="1968" y="2307"/>
                  </a:lnTo>
                  <a:lnTo>
                    <a:pt x="1963" y="2297"/>
                  </a:lnTo>
                  <a:lnTo>
                    <a:pt x="1957" y="2289"/>
                  </a:lnTo>
                  <a:lnTo>
                    <a:pt x="1950" y="2280"/>
                  </a:lnTo>
                  <a:lnTo>
                    <a:pt x="1943" y="2274"/>
                  </a:lnTo>
                  <a:lnTo>
                    <a:pt x="1935" y="2267"/>
                  </a:lnTo>
                  <a:lnTo>
                    <a:pt x="1926" y="2262"/>
                  </a:lnTo>
                  <a:lnTo>
                    <a:pt x="1918" y="2258"/>
                  </a:lnTo>
                  <a:lnTo>
                    <a:pt x="1909" y="2254"/>
                  </a:lnTo>
                  <a:lnTo>
                    <a:pt x="1898" y="2253"/>
                  </a:lnTo>
                  <a:lnTo>
                    <a:pt x="1888" y="2252"/>
                  </a:lnTo>
                  <a:lnTo>
                    <a:pt x="1888" y="2252"/>
                  </a:lnTo>
                  <a:close/>
                  <a:moveTo>
                    <a:pt x="1888" y="2454"/>
                  </a:moveTo>
                  <a:lnTo>
                    <a:pt x="1888" y="2454"/>
                  </a:lnTo>
                  <a:lnTo>
                    <a:pt x="1879" y="2452"/>
                  </a:lnTo>
                  <a:lnTo>
                    <a:pt x="1871" y="2449"/>
                  </a:lnTo>
                  <a:lnTo>
                    <a:pt x="1864" y="2442"/>
                  </a:lnTo>
                  <a:lnTo>
                    <a:pt x="1858" y="2434"/>
                  </a:lnTo>
                  <a:lnTo>
                    <a:pt x="1853" y="2424"/>
                  </a:lnTo>
                  <a:lnTo>
                    <a:pt x="1848" y="2412"/>
                  </a:lnTo>
                  <a:lnTo>
                    <a:pt x="1846" y="2397"/>
                  </a:lnTo>
                  <a:lnTo>
                    <a:pt x="1846" y="2382"/>
                  </a:lnTo>
                  <a:lnTo>
                    <a:pt x="1846" y="2382"/>
                  </a:lnTo>
                  <a:lnTo>
                    <a:pt x="1846" y="2366"/>
                  </a:lnTo>
                  <a:lnTo>
                    <a:pt x="1848" y="2353"/>
                  </a:lnTo>
                  <a:lnTo>
                    <a:pt x="1853" y="2340"/>
                  </a:lnTo>
                  <a:lnTo>
                    <a:pt x="1858" y="2329"/>
                  </a:lnTo>
                  <a:lnTo>
                    <a:pt x="1864" y="2321"/>
                  </a:lnTo>
                  <a:lnTo>
                    <a:pt x="1871" y="2315"/>
                  </a:lnTo>
                  <a:lnTo>
                    <a:pt x="1879" y="2311"/>
                  </a:lnTo>
                  <a:lnTo>
                    <a:pt x="1888" y="2310"/>
                  </a:lnTo>
                  <a:lnTo>
                    <a:pt x="1888" y="2310"/>
                  </a:lnTo>
                  <a:lnTo>
                    <a:pt x="1897" y="2311"/>
                  </a:lnTo>
                  <a:lnTo>
                    <a:pt x="1906" y="2315"/>
                  </a:lnTo>
                  <a:lnTo>
                    <a:pt x="1913" y="2321"/>
                  </a:lnTo>
                  <a:lnTo>
                    <a:pt x="1919" y="2329"/>
                  </a:lnTo>
                  <a:lnTo>
                    <a:pt x="1924" y="2340"/>
                  </a:lnTo>
                  <a:lnTo>
                    <a:pt x="1927" y="2353"/>
                  </a:lnTo>
                  <a:lnTo>
                    <a:pt x="1930" y="2366"/>
                  </a:lnTo>
                  <a:lnTo>
                    <a:pt x="1931" y="2382"/>
                  </a:lnTo>
                  <a:lnTo>
                    <a:pt x="1931" y="2382"/>
                  </a:lnTo>
                  <a:lnTo>
                    <a:pt x="1930" y="2397"/>
                  </a:lnTo>
                  <a:lnTo>
                    <a:pt x="1927" y="2412"/>
                  </a:lnTo>
                  <a:lnTo>
                    <a:pt x="1924" y="2424"/>
                  </a:lnTo>
                  <a:lnTo>
                    <a:pt x="1919" y="2434"/>
                  </a:lnTo>
                  <a:lnTo>
                    <a:pt x="1913" y="2442"/>
                  </a:lnTo>
                  <a:lnTo>
                    <a:pt x="1906" y="2449"/>
                  </a:lnTo>
                  <a:lnTo>
                    <a:pt x="1897" y="2452"/>
                  </a:lnTo>
                  <a:lnTo>
                    <a:pt x="1888" y="2454"/>
                  </a:lnTo>
                  <a:lnTo>
                    <a:pt x="1888" y="2454"/>
                  </a:lnTo>
                  <a:close/>
                  <a:moveTo>
                    <a:pt x="789" y="2339"/>
                  </a:moveTo>
                  <a:lnTo>
                    <a:pt x="852" y="2505"/>
                  </a:lnTo>
                  <a:lnTo>
                    <a:pt x="795" y="2505"/>
                  </a:lnTo>
                  <a:lnTo>
                    <a:pt x="751" y="2391"/>
                  </a:lnTo>
                  <a:lnTo>
                    <a:pt x="723" y="2431"/>
                  </a:lnTo>
                  <a:lnTo>
                    <a:pt x="723" y="2505"/>
                  </a:lnTo>
                  <a:lnTo>
                    <a:pt x="672" y="2505"/>
                  </a:lnTo>
                  <a:lnTo>
                    <a:pt x="672" y="2186"/>
                  </a:lnTo>
                  <a:lnTo>
                    <a:pt x="723" y="2155"/>
                  </a:lnTo>
                  <a:lnTo>
                    <a:pt x="723" y="2353"/>
                  </a:lnTo>
                  <a:lnTo>
                    <a:pt x="723" y="2353"/>
                  </a:lnTo>
                  <a:lnTo>
                    <a:pt x="743" y="2321"/>
                  </a:lnTo>
                  <a:lnTo>
                    <a:pt x="785" y="2258"/>
                  </a:lnTo>
                  <a:lnTo>
                    <a:pt x="845" y="2258"/>
                  </a:lnTo>
                  <a:lnTo>
                    <a:pt x="789" y="2339"/>
                  </a:lnTo>
                  <a:close/>
                  <a:moveTo>
                    <a:pt x="1034" y="2505"/>
                  </a:moveTo>
                  <a:lnTo>
                    <a:pt x="982" y="2505"/>
                  </a:lnTo>
                  <a:lnTo>
                    <a:pt x="982" y="2258"/>
                  </a:lnTo>
                  <a:lnTo>
                    <a:pt x="1034" y="2258"/>
                  </a:lnTo>
                  <a:lnTo>
                    <a:pt x="1034" y="2279"/>
                  </a:lnTo>
                  <a:lnTo>
                    <a:pt x="1034" y="2279"/>
                  </a:lnTo>
                  <a:lnTo>
                    <a:pt x="1040" y="2273"/>
                  </a:lnTo>
                  <a:lnTo>
                    <a:pt x="1045" y="2268"/>
                  </a:lnTo>
                  <a:lnTo>
                    <a:pt x="1051" y="2263"/>
                  </a:lnTo>
                  <a:lnTo>
                    <a:pt x="1057" y="2259"/>
                  </a:lnTo>
                  <a:lnTo>
                    <a:pt x="1065" y="2257"/>
                  </a:lnTo>
                  <a:lnTo>
                    <a:pt x="1072" y="2254"/>
                  </a:lnTo>
                  <a:lnTo>
                    <a:pt x="1079" y="2253"/>
                  </a:lnTo>
                  <a:lnTo>
                    <a:pt x="1088" y="2252"/>
                  </a:lnTo>
                  <a:lnTo>
                    <a:pt x="1088" y="2252"/>
                  </a:lnTo>
                  <a:lnTo>
                    <a:pt x="1097" y="2253"/>
                  </a:lnTo>
                  <a:lnTo>
                    <a:pt x="1105" y="2254"/>
                  </a:lnTo>
                  <a:lnTo>
                    <a:pt x="1113" y="2257"/>
                  </a:lnTo>
                  <a:lnTo>
                    <a:pt x="1121" y="2259"/>
                  </a:lnTo>
                  <a:lnTo>
                    <a:pt x="1127" y="2264"/>
                  </a:lnTo>
                  <a:lnTo>
                    <a:pt x="1133" y="2269"/>
                  </a:lnTo>
                  <a:lnTo>
                    <a:pt x="1140" y="2274"/>
                  </a:lnTo>
                  <a:lnTo>
                    <a:pt x="1145" y="2281"/>
                  </a:lnTo>
                  <a:lnTo>
                    <a:pt x="1149" y="2289"/>
                  </a:lnTo>
                  <a:lnTo>
                    <a:pt x="1153" y="2297"/>
                  </a:lnTo>
                  <a:lnTo>
                    <a:pt x="1156" y="2306"/>
                  </a:lnTo>
                  <a:lnTo>
                    <a:pt x="1159" y="2317"/>
                  </a:lnTo>
                  <a:lnTo>
                    <a:pt x="1161" y="2328"/>
                  </a:lnTo>
                  <a:lnTo>
                    <a:pt x="1163" y="2339"/>
                  </a:lnTo>
                  <a:lnTo>
                    <a:pt x="1164" y="2352"/>
                  </a:lnTo>
                  <a:lnTo>
                    <a:pt x="1165" y="2365"/>
                  </a:lnTo>
                  <a:lnTo>
                    <a:pt x="1165" y="2505"/>
                  </a:lnTo>
                  <a:lnTo>
                    <a:pt x="1113" y="2505"/>
                  </a:lnTo>
                  <a:lnTo>
                    <a:pt x="1113" y="2369"/>
                  </a:lnTo>
                  <a:lnTo>
                    <a:pt x="1113" y="2369"/>
                  </a:lnTo>
                  <a:lnTo>
                    <a:pt x="1112" y="2355"/>
                  </a:lnTo>
                  <a:lnTo>
                    <a:pt x="1110" y="2342"/>
                  </a:lnTo>
                  <a:lnTo>
                    <a:pt x="1107" y="2332"/>
                  </a:lnTo>
                  <a:lnTo>
                    <a:pt x="1103" y="2323"/>
                  </a:lnTo>
                  <a:lnTo>
                    <a:pt x="1098" y="2317"/>
                  </a:lnTo>
                  <a:lnTo>
                    <a:pt x="1092" y="2312"/>
                  </a:lnTo>
                  <a:lnTo>
                    <a:pt x="1083" y="2310"/>
                  </a:lnTo>
                  <a:lnTo>
                    <a:pt x="1074" y="2308"/>
                  </a:lnTo>
                  <a:lnTo>
                    <a:pt x="1074" y="2308"/>
                  </a:lnTo>
                  <a:lnTo>
                    <a:pt x="1066" y="2310"/>
                  </a:lnTo>
                  <a:lnTo>
                    <a:pt x="1057" y="2312"/>
                  </a:lnTo>
                  <a:lnTo>
                    <a:pt x="1050" y="2317"/>
                  </a:lnTo>
                  <a:lnTo>
                    <a:pt x="1045" y="2324"/>
                  </a:lnTo>
                  <a:lnTo>
                    <a:pt x="1041" y="2332"/>
                  </a:lnTo>
                  <a:lnTo>
                    <a:pt x="1038" y="2343"/>
                  </a:lnTo>
                  <a:lnTo>
                    <a:pt x="1036" y="2355"/>
                  </a:lnTo>
                  <a:lnTo>
                    <a:pt x="1034" y="2369"/>
                  </a:lnTo>
                  <a:lnTo>
                    <a:pt x="1034" y="2505"/>
                  </a:lnTo>
                  <a:close/>
                  <a:moveTo>
                    <a:pt x="1328" y="2275"/>
                  </a:moveTo>
                  <a:lnTo>
                    <a:pt x="1328" y="2275"/>
                  </a:lnTo>
                  <a:lnTo>
                    <a:pt x="1323" y="2270"/>
                  </a:lnTo>
                  <a:lnTo>
                    <a:pt x="1318" y="2265"/>
                  </a:lnTo>
                  <a:lnTo>
                    <a:pt x="1312" y="2262"/>
                  </a:lnTo>
                  <a:lnTo>
                    <a:pt x="1306" y="2258"/>
                  </a:lnTo>
                  <a:lnTo>
                    <a:pt x="1300" y="2256"/>
                  </a:lnTo>
                  <a:lnTo>
                    <a:pt x="1294" y="2254"/>
                  </a:lnTo>
                  <a:lnTo>
                    <a:pt x="1287" y="2253"/>
                  </a:lnTo>
                  <a:lnTo>
                    <a:pt x="1281" y="2252"/>
                  </a:lnTo>
                  <a:lnTo>
                    <a:pt x="1281" y="2252"/>
                  </a:lnTo>
                  <a:lnTo>
                    <a:pt x="1272" y="2253"/>
                  </a:lnTo>
                  <a:lnTo>
                    <a:pt x="1263" y="2254"/>
                  </a:lnTo>
                  <a:lnTo>
                    <a:pt x="1255" y="2257"/>
                  </a:lnTo>
                  <a:lnTo>
                    <a:pt x="1247" y="2262"/>
                  </a:lnTo>
                  <a:lnTo>
                    <a:pt x="1240" y="2265"/>
                  </a:lnTo>
                  <a:lnTo>
                    <a:pt x="1233" y="2272"/>
                  </a:lnTo>
                  <a:lnTo>
                    <a:pt x="1227" y="2279"/>
                  </a:lnTo>
                  <a:lnTo>
                    <a:pt x="1221" y="2286"/>
                  </a:lnTo>
                  <a:lnTo>
                    <a:pt x="1216" y="2295"/>
                  </a:lnTo>
                  <a:lnTo>
                    <a:pt x="1211" y="2305"/>
                  </a:lnTo>
                  <a:lnTo>
                    <a:pt x="1207" y="2315"/>
                  </a:lnTo>
                  <a:lnTo>
                    <a:pt x="1204" y="2327"/>
                  </a:lnTo>
                  <a:lnTo>
                    <a:pt x="1202" y="2338"/>
                  </a:lnTo>
                  <a:lnTo>
                    <a:pt x="1200" y="2352"/>
                  </a:lnTo>
                  <a:lnTo>
                    <a:pt x="1199" y="2365"/>
                  </a:lnTo>
                  <a:lnTo>
                    <a:pt x="1199" y="2379"/>
                  </a:lnTo>
                  <a:lnTo>
                    <a:pt x="1199" y="2379"/>
                  </a:lnTo>
                  <a:lnTo>
                    <a:pt x="1199" y="2395"/>
                  </a:lnTo>
                  <a:lnTo>
                    <a:pt x="1200" y="2408"/>
                  </a:lnTo>
                  <a:lnTo>
                    <a:pt x="1202" y="2422"/>
                  </a:lnTo>
                  <a:lnTo>
                    <a:pt x="1204" y="2435"/>
                  </a:lnTo>
                  <a:lnTo>
                    <a:pt x="1207" y="2446"/>
                  </a:lnTo>
                  <a:lnTo>
                    <a:pt x="1211" y="2457"/>
                  </a:lnTo>
                  <a:lnTo>
                    <a:pt x="1216" y="2467"/>
                  </a:lnTo>
                  <a:lnTo>
                    <a:pt x="1221" y="2476"/>
                  </a:lnTo>
                  <a:lnTo>
                    <a:pt x="1226" y="2484"/>
                  </a:lnTo>
                  <a:lnTo>
                    <a:pt x="1232" y="2490"/>
                  </a:lnTo>
                  <a:lnTo>
                    <a:pt x="1238" y="2497"/>
                  </a:lnTo>
                  <a:lnTo>
                    <a:pt x="1246" y="2502"/>
                  </a:lnTo>
                  <a:lnTo>
                    <a:pt x="1254" y="2505"/>
                  </a:lnTo>
                  <a:lnTo>
                    <a:pt x="1262" y="2509"/>
                  </a:lnTo>
                  <a:lnTo>
                    <a:pt x="1271" y="2510"/>
                  </a:lnTo>
                  <a:lnTo>
                    <a:pt x="1280" y="2511"/>
                  </a:lnTo>
                  <a:lnTo>
                    <a:pt x="1280" y="2511"/>
                  </a:lnTo>
                  <a:lnTo>
                    <a:pt x="1286" y="2510"/>
                  </a:lnTo>
                  <a:lnTo>
                    <a:pt x="1294" y="2509"/>
                  </a:lnTo>
                  <a:lnTo>
                    <a:pt x="1300" y="2508"/>
                  </a:lnTo>
                  <a:lnTo>
                    <a:pt x="1306" y="2505"/>
                  </a:lnTo>
                  <a:lnTo>
                    <a:pt x="1311" y="2502"/>
                  </a:lnTo>
                  <a:lnTo>
                    <a:pt x="1318" y="2498"/>
                  </a:lnTo>
                  <a:lnTo>
                    <a:pt x="1323" y="2493"/>
                  </a:lnTo>
                  <a:lnTo>
                    <a:pt x="1328" y="2487"/>
                  </a:lnTo>
                  <a:lnTo>
                    <a:pt x="1328" y="2493"/>
                  </a:lnTo>
                  <a:lnTo>
                    <a:pt x="1328" y="2493"/>
                  </a:lnTo>
                  <a:lnTo>
                    <a:pt x="1328" y="2503"/>
                  </a:lnTo>
                  <a:lnTo>
                    <a:pt x="1327" y="2514"/>
                  </a:lnTo>
                  <a:lnTo>
                    <a:pt x="1324" y="2525"/>
                  </a:lnTo>
                  <a:lnTo>
                    <a:pt x="1322" y="2530"/>
                  </a:lnTo>
                  <a:lnTo>
                    <a:pt x="1320" y="2535"/>
                  </a:lnTo>
                  <a:lnTo>
                    <a:pt x="1315" y="2540"/>
                  </a:lnTo>
                  <a:lnTo>
                    <a:pt x="1311" y="2545"/>
                  </a:lnTo>
                  <a:lnTo>
                    <a:pt x="1306" y="2548"/>
                  </a:lnTo>
                  <a:lnTo>
                    <a:pt x="1300" y="2552"/>
                  </a:lnTo>
                  <a:lnTo>
                    <a:pt x="1292" y="2554"/>
                  </a:lnTo>
                  <a:lnTo>
                    <a:pt x="1283" y="2557"/>
                  </a:lnTo>
                  <a:lnTo>
                    <a:pt x="1273" y="2558"/>
                  </a:lnTo>
                  <a:lnTo>
                    <a:pt x="1260" y="2558"/>
                  </a:lnTo>
                  <a:lnTo>
                    <a:pt x="1258" y="2558"/>
                  </a:lnTo>
                  <a:lnTo>
                    <a:pt x="1277" y="2606"/>
                  </a:lnTo>
                  <a:lnTo>
                    <a:pt x="1278" y="2606"/>
                  </a:lnTo>
                  <a:lnTo>
                    <a:pt x="1278" y="2606"/>
                  </a:lnTo>
                  <a:lnTo>
                    <a:pt x="1291" y="2606"/>
                  </a:lnTo>
                  <a:lnTo>
                    <a:pt x="1302" y="2605"/>
                  </a:lnTo>
                  <a:lnTo>
                    <a:pt x="1312" y="2601"/>
                  </a:lnTo>
                  <a:lnTo>
                    <a:pt x="1323" y="2599"/>
                  </a:lnTo>
                  <a:lnTo>
                    <a:pt x="1332" y="2594"/>
                  </a:lnTo>
                  <a:lnTo>
                    <a:pt x="1340" y="2589"/>
                  </a:lnTo>
                  <a:lnTo>
                    <a:pt x="1348" y="2583"/>
                  </a:lnTo>
                  <a:lnTo>
                    <a:pt x="1354" y="2575"/>
                  </a:lnTo>
                  <a:lnTo>
                    <a:pt x="1360" y="2567"/>
                  </a:lnTo>
                  <a:lnTo>
                    <a:pt x="1365" y="2558"/>
                  </a:lnTo>
                  <a:lnTo>
                    <a:pt x="1370" y="2547"/>
                  </a:lnTo>
                  <a:lnTo>
                    <a:pt x="1373" y="2536"/>
                  </a:lnTo>
                  <a:lnTo>
                    <a:pt x="1376" y="2525"/>
                  </a:lnTo>
                  <a:lnTo>
                    <a:pt x="1378" y="2511"/>
                  </a:lnTo>
                  <a:lnTo>
                    <a:pt x="1379" y="2498"/>
                  </a:lnTo>
                  <a:lnTo>
                    <a:pt x="1379" y="2483"/>
                  </a:lnTo>
                  <a:lnTo>
                    <a:pt x="1379" y="2258"/>
                  </a:lnTo>
                  <a:lnTo>
                    <a:pt x="1328" y="2258"/>
                  </a:lnTo>
                  <a:lnTo>
                    <a:pt x="1328" y="2275"/>
                  </a:lnTo>
                  <a:close/>
                  <a:moveTo>
                    <a:pt x="1328" y="2333"/>
                  </a:moveTo>
                  <a:lnTo>
                    <a:pt x="1328" y="2430"/>
                  </a:lnTo>
                  <a:lnTo>
                    <a:pt x="1328" y="2430"/>
                  </a:lnTo>
                  <a:lnTo>
                    <a:pt x="1321" y="2439"/>
                  </a:lnTo>
                  <a:lnTo>
                    <a:pt x="1313" y="2447"/>
                  </a:lnTo>
                  <a:lnTo>
                    <a:pt x="1308" y="2450"/>
                  </a:lnTo>
                  <a:lnTo>
                    <a:pt x="1303" y="2452"/>
                  </a:lnTo>
                  <a:lnTo>
                    <a:pt x="1298" y="2454"/>
                  </a:lnTo>
                  <a:lnTo>
                    <a:pt x="1291" y="2455"/>
                  </a:lnTo>
                  <a:lnTo>
                    <a:pt x="1291" y="2455"/>
                  </a:lnTo>
                  <a:lnTo>
                    <a:pt x="1284" y="2454"/>
                  </a:lnTo>
                  <a:lnTo>
                    <a:pt x="1277" y="2451"/>
                  </a:lnTo>
                  <a:lnTo>
                    <a:pt x="1271" y="2447"/>
                  </a:lnTo>
                  <a:lnTo>
                    <a:pt x="1265" y="2440"/>
                  </a:lnTo>
                  <a:lnTo>
                    <a:pt x="1259" y="2430"/>
                  </a:lnTo>
                  <a:lnTo>
                    <a:pt x="1255" y="2417"/>
                  </a:lnTo>
                  <a:lnTo>
                    <a:pt x="1253" y="2399"/>
                  </a:lnTo>
                  <a:lnTo>
                    <a:pt x="1252" y="2377"/>
                  </a:lnTo>
                  <a:lnTo>
                    <a:pt x="1252" y="2377"/>
                  </a:lnTo>
                  <a:lnTo>
                    <a:pt x="1253" y="2359"/>
                  </a:lnTo>
                  <a:lnTo>
                    <a:pt x="1255" y="2343"/>
                  </a:lnTo>
                  <a:lnTo>
                    <a:pt x="1259" y="2331"/>
                  </a:lnTo>
                  <a:lnTo>
                    <a:pt x="1265" y="2322"/>
                  </a:lnTo>
                  <a:lnTo>
                    <a:pt x="1271" y="2316"/>
                  </a:lnTo>
                  <a:lnTo>
                    <a:pt x="1277" y="2311"/>
                  </a:lnTo>
                  <a:lnTo>
                    <a:pt x="1284" y="2310"/>
                  </a:lnTo>
                  <a:lnTo>
                    <a:pt x="1291" y="2308"/>
                  </a:lnTo>
                  <a:lnTo>
                    <a:pt x="1291" y="2308"/>
                  </a:lnTo>
                  <a:lnTo>
                    <a:pt x="1298" y="2310"/>
                  </a:lnTo>
                  <a:lnTo>
                    <a:pt x="1304" y="2311"/>
                  </a:lnTo>
                  <a:lnTo>
                    <a:pt x="1309" y="2313"/>
                  </a:lnTo>
                  <a:lnTo>
                    <a:pt x="1314" y="2317"/>
                  </a:lnTo>
                  <a:lnTo>
                    <a:pt x="1319" y="2321"/>
                  </a:lnTo>
                  <a:lnTo>
                    <a:pt x="1322" y="2324"/>
                  </a:lnTo>
                  <a:lnTo>
                    <a:pt x="1328" y="2333"/>
                  </a:lnTo>
                  <a:lnTo>
                    <a:pt x="1328" y="2333"/>
                  </a:lnTo>
                  <a:close/>
                  <a:moveTo>
                    <a:pt x="885" y="2258"/>
                  </a:moveTo>
                  <a:lnTo>
                    <a:pt x="937" y="2258"/>
                  </a:lnTo>
                  <a:lnTo>
                    <a:pt x="937" y="2367"/>
                  </a:lnTo>
                  <a:lnTo>
                    <a:pt x="937" y="2505"/>
                  </a:lnTo>
                  <a:lnTo>
                    <a:pt x="885" y="2505"/>
                  </a:lnTo>
                  <a:lnTo>
                    <a:pt x="885" y="2258"/>
                  </a:lnTo>
                  <a:close/>
                  <a:moveTo>
                    <a:pt x="937" y="2192"/>
                  </a:moveTo>
                  <a:lnTo>
                    <a:pt x="937" y="2222"/>
                  </a:lnTo>
                  <a:lnTo>
                    <a:pt x="885" y="2222"/>
                  </a:lnTo>
                  <a:lnTo>
                    <a:pt x="885" y="2161"/>
                  </a:lnTo>
                  <a:lnTo>
                    <a:pt x="937" y="2161"/>
                  </a:lnTo>
                  <a:lnTo>
                    <a:pt x="937" y="2192"/>
                  </a:lnTo>
                  <a:close/>
                  <a:moveTo>
                    <a:pt x="2177" y="2186"/>
                  </a:moveTo>
                  <a:lnTo>
                    <a:pt x="2229" y="2155"/>
                  </a:lnTo>
                  <a:lnTo>
                    <a:pt x="2229" y="2379"/>
                  </a:lnTo>
                  <a:lnTo>
                    <a:pt x="2229" y="2505"/>
                  </a:lnTo>
                  <a:lnTo>
                    <a:pt x="2177" y="2505"/>
                  </a:lnTo>
                  <a:lnTo>
                    <a:pt x="2177" y="2186"/>
                  </a:lnTo>
                  <a:close/>
                  <a:moveTo>
                    <a:pt x="375" y="843"/>
                  </a:moveTo>
                  <a:lnTo>
                    <a:pt x="801" y="843"/>
                  </a:lnTo>
                  <a:lnTo>
                    <a:pt x="801" y="550"/>
                  </a:lnTo>
                  <a:lnTo>
                    <a:pt x="375" y="550"/>
                  </a:lnTo>
                  <a:lnTo>
                    <a:pt x="375" y="321"/>
                  </a:lnTo>
                  <a:lnTo>
                    <a:pt x="847" y="321"/>
                  </a:lnTo>
                  <a:lnTo>
                    <a:pt x="690" y="0"/>
                  </a:lnTo>
                  <a:lnTo>
                    <a:pt x="21" y="0"/>
                  </a:lnTo>
                  <a:lnTo>
                    <a:pt x="21" y="1394"/>
                  </a:lnTo>
                  <a:lnTo>
                    <a:pt x="965" y="1394"/>
                  </a:lnTo>
                  <a:lnTo>
                    <a:pt x="965" y="1073"/>
                  </a:lnTo>
                  <a:lnTo>
                    <a:pt x="375" y="1073"/>
                  </a:lnTo>
                  <a:lnTo>
                    <a:pt x="375" y="843"/>
                  </a:lnTo>
                  <a:close/>
                  <a:moveTo>
                    <a:pt x="1593" y="0"/>
                  </a:moveTo>
                  <a:lnTo>
                    <a:pt x="1393" y="455"/>
                  </a:lnTo>
                  <a:lnTo>
                    <a:pt x="1193" y="0"/>
                  </a:lnTo>
                  <a:lnTo>
                    <a:pt x="801" y="0"/>
                  </a:lnTo>
                  <a:lnTo>
                    <a:pt x="1214" y="843"/>
                  </a:lnTo>
                  <a:lnTo>
                    <a:pt x="1214" y="1394"/>
                  </a:lnTo>
                  <a:lnTo>
                    <a:pt x="1566" y="1394"/>
                  </a:lnTo>
                  <a:lnTo>
                    <a:pt x="1566" y="843"/>
                  </a:lnTo>
                  <a:lnTo>
                    <a:pt x="1979" y="0"/>
                  </a:lnTo>
                  <a:lnTo>
                    <a:pt x="159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4844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17" y="1599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9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17" y="1599"/>
                        <a:ext cx="190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737" y="1412879"/>
            <a:ext cx="9881236" cy="4519613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>
                <a:cs typeface="Arial"/>
              </a:defRPr>
            </a:lvl1pPr>
            <a:lvl2pPr>
              <a:defRPr>
                <a:cs typeface="Arial"/>
              </a:defRPr>
            </a:lvl2pPr>
            <a:lvl3pPr>
              <a:defRPr>
                <a:cs typeface="Arial"/>
              </a:defRPr>
            </a:lvl3pPr>
            <a:lvl4pPr>
              <a:defRPr>
                <a:cs typeface="Arial"/>
              </a:defRPr>
            </a:lvl4pPr>
            <a:lvl5pPr>
              <a:defRPr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13560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 descr="Satellite2"/>
          <p:cNvPicPr>
            <a:picLocks noChangeAspect="1" noChangeArrowheads="1"/>
          </p:cNvPicPr>
          <p:nvPr userDrawn="1"/>
        </p:nvPicPr>
        <p:blipFill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6" y="0"/>
            <a:ext cx="1097279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727904" y="5748934"/>
            <a:ext cx="118018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9072" y="757504"/>
            <a:ext cx="65880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9072" y="1753200"/>
            <a:ext cx="6588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109728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83429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273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0156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170"/>
            <a:ext cx="9875520" cy="36576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062750"/>
            <a:ext cx="9875520" cy="469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202188"/>
            <a:ext cx="987552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047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285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352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2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2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935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sz="1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126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0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5048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249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3146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83429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547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990605"/>
              </p:ext>
            </p:extLst>
          </p:nvPr>
        </p:nvGraphicFramePr>
        <p:xfrm>
          <a:off x="1634" y="1435"/>
          <a:ext cx="1626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4" y="1435"/>
                        <a:ext cx="1626" cy="14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91" y="457200"/>
            <a:ext cx="6496050" cy="4572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064363" y="1799130"/>
            <a:ext cx="5571672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64363" y="2769577"/>
            <a:ext cx="5571672" cy="645742"/>
          </a:xfrm>
          <a:prstGeom prst="rect">
            <a:avLst/>
          </a:prstGeom>
        </p:spPr>
        <p:txBody>
          <a:bodyPr lIns="90879" tIns="45426" rIns="90879" bIns="45426"/>
          <a:lstStyle>
            <a:lvl1pPr marL="0" indent="0" algn="l">
              <a:buNone/>
              <a:defRPr sz="2300"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  <a:lvl2pPr marL="0" indent="0" algn="l">
              <a:buNone/>
              <a:defRPr sz="1800">
                <a:solidFill>
                  <a:srgbClr val="404040"/>
                </a:solidFill>
              </a:defRPr>
            </a:lvl2pPr>
            <a:lvl3pPr marL="1043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312634" y="5702581"/>
            <a:ext cx="4660876" cy="708325"/>
            <a:chOff x="399256" y="6507163"/>
            <a:chExt cx="4544219" cy="783909"/>
          </a:xfrm>
        </p:grpSpPr>
        <p:sp>
          <p:nvSpPr>
            <p:cNvPr id="4" name="AutoShape 110"/>
            <p:cNvSpPr>
              <a:spLocks noChangeAspect="1" noChangeArrowheads="1" noTextEdit="1"/>
            </p:cNvSpPr>
            <p:nvPr userDrawn="1"/>
          </p:nvSpPr>
          <p:spPr bwMode="auto">
            <a:xfrm>
              <a:off x="520700" y="6507163"/>
              <a:ext cx="4422775" cy="684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" name="Rectangle 112"/>
            <p:cNvSpPr>
              <a:spLocks noChangeArrowheads="1"/>
            </p:cNvSpPr>
            <p:nvPr userDrawn="1"/>
          </p:nvSpPr>
          <p:spPr bwMode="auto">
            <a:xfrm>
              <a:off x="5334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6" name="Rectangle 113"/>
            <p:cNvSpPr>
              <a:spLocks noChangeArrowheads="1"/>
            </p:cNvSpPr>
            <p:nvPr userDrawn="1"/>
          </p:nvSpPr>
          <p:spPr bwMode="auto">
            <a:xfrm>
              <a:off x="7366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2" name="Rectangle 114"/>
            <p:cNvSpPr>
              <a:spLocks noChangeArrowheads="1"/>
            </p:cNvSpPr>
            <p:nvPr userDrawn="1"/>
          </p:nvSpPr>
          <p:spPr bwMode="auto">
            <a:xfrm>
              <a:off x="938213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3" name="Rectangle 115"/>
            <p:cNvSpPr>
              <a:spLocks noChangeArrowheads="1"/>
            </p:cNvSpPr>
            <p:nvPr userDrawn="1"/>
          </p:nvSpPr>
          <p:spPr bwMode="auto">
            <a:xfrm>
              <a:off x="399256" y="6746081"/>
              <a:ext cx="4159766" cy="544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question. The better the answer.</a:t>
              </a:r>
            </a:p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world works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16"/>
            <p:cNvSpPr>
              <a:spLocks noChangeArrowheads="1"/>
            </p:cNvSpPr>
            <p:nvPr userDrawn="1"/>
          </p:nvSpPr>
          <p:spPr bwMode="auto">
            <a:xfrm>
              <a:off x="64135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6" name="Rectangle 126"/>
            <p:cNvSpPr>
              <a:spLocks noChangeArrowheads="1"/>
            </p:cNvSpPr>
            <p:nvPr userDrawn="1"/>
          </p:nvSpPr>
          <p:spPr bwMode="auto">
            <a:xfrm>
              <a:off x="3470275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1" name="Rectangle 131"/>
            <p:cNvSpPr>
              <a:spLocks noChangeArrowheads="1"/>
            </p:cNvSpPr>
            <p:nvPr userDrawn="1"/>
          </p:nvSpPr>
          <p:spPr bwMode="auto">
            <a:xfrm>
              <a:off x="471170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2" name="Rectangle 132"/>
            <p:cNvSpPr>
              <a:spLocks noChangeArrowheads="1"/>
            </p:cNvSpPr>
            <p:nvPr userDrawn="1"/>
          </p:nvSpPr>
          <p:spPr bwMode="auto">
            <a:xfrm>
              <a:off x="4824413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4" name="Rectangle 144"/>
            <p:cNvSpPr>
              <a:spLocks noChangeArrowheads="1"/>
            </p:cNvSpPr>
            <p:nvPr userDrawn="1"/>
          </p:nvSpPr>
          <p:spPr bwMode="auto">
            <a:xfrm>
              <a:off x="2836864" y="69310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6" name="Rectangle 146"/>
            <p:cNvSpPr>
              <a:spLocks noChangeArrowheads="1"/>
            </p:cNvSpPr>
            <p:nvPr userDrawn="1"/>
          </p:nvSpPr>
          <p:spPr bwMode="auto">
            <a:xfrm>
              <a:off x="3040063" y="6931024"/>
              <a:ext cx="56264" cy="27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51" name="Group 50"/>
          <p:cNvGrpSpPr/>
          <p:nvPr userDrawn="1"/>
        </p:nvGrpSpPr>
        <p:grpSpPr>
          <a:xfrm>
            <a:off x="9250108" y="5340375"/>
            <a:ext cx="1185368" cy="1156150"/>
            <a:chOff x="9018588" y="5910263"/>
            <a:chExt cx="1155700" cy="1279526"/>
          </a:xfrm>
        </p:grpSpPr>
        <p:sp>
          <p:nvSpPr>
            <p:cNvPr id="48" name="AutoShape 148"/>
            <p:cNvSpPr>
              <a:spLocks noChangeAspect="1" noChangeArrowheads="1" noTextEdit="1"/>
            </p:cNvSpPr>
            <p:nvPr userDrawn="1"/>
          </p:nvSpPr>
          <p:spPr bwMode="auto">
            <a:xfrm>
              <a:off x="9018588" y="5910263"/>
              <a:ext cx="1155700" cy="127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49" name="Freeform 150"/>
            <p:cNvSpPr>
              <a:spLocks/>
            </p:cNvSpPr>
            <p:nvPr userDrawn="1"/>
          </p:nvSpPr>
          <p:spPr bwMode="auto">
            <a:xfrm>
              <a:off x="9018588" y="5910263"/>
              <a:ext cx="925513" cy="319088"/>
            </a:xfrm>
            <a:custGeom>
              <a:avLst/>
              <a:gdLst>
                <a:gd name="T0" fmla="*/ 2332 w 2332"/>
                <a:gd name="T1" fmla="*/ 0 h 1006"/>
                <a:gd name="T2" fmla="*/ 0 w 2332"/>
                <a:gd name="T3" fmla="*/ 1006 h 1006"/>
                <a:gd name="T4" fmla="*/ 2332 w 2332"/>
                <a:gd name="T5" fmla="*/ 519 h 1006"/>
                <a:gd name="T6" fmla="*/ 2332 w 2332"/>
                <a:gd name="T7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2" h="1006">
                  <a:moveTo>
                    <a:pt x="2332" y="0"/>
                  </a:moveTo>
                  <a:lnTo>
                    <a:pt x="0" y="1006"/>
                  </a:lnTo>
                  <a:lnTo>
                    <a:pt x="2332" y="519"/>
                  </a:lnTo>
                  <a:lnTo>
                    <a:pt x="2332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0" name="Freeform 151"/>
            <p:cNvSpPr>
              <a:spLocks noEditPoints="1"/>
            </p:cNvSpPr>
            <p:nvPr userDrawn="1"/>
          </p:nvSpPr>
          <p:spPr bwMode="auto">
            <a:xfrm>
              <a:off x="9018588" y="6362701"/>
              <a:ext cx="1155700" cy="827088"/>
            </a:xfrm>
            <a:custGeom>
              <a:avLst/>
              <a:gdLst>
                <a:gd name="T0" fmla="*/ 220 w 2912"/>
                <a:gd name="T1" fmla="*/ 1769 h 2606"/>
                <a:gd name="T2" fmla="*/ 238 w 2912"/>
                <a:gd name="T3" fmla="*/ 2000 h 2606"/>
                <a:gd name="T4" fmla="*/ 143 w 2912"/>
                <a:gd name="T5" fmla="*/ 2016 h 2606"/>
                <a:gd name="T6" fmla="*/ 331 w 2912"/>
                <a:gd name="T7" fmla="*/ 1962 h 2606"/>
                <a:gd name="T8" fmla="*/ 392 w 2912"/>
                <a:gd name="T9" fmla="*/ 2069 h 2606"/>
                <a:gd name="T10" fmla="*/ 1075 w 2912"/>
                <a:gd name="T11" fmla="*/ 1840 h 2606"/>
                <a:gd name="T12" fmla="*/ 1147 w 2912"/>
                <a:gd name="T13" fmla="*/ 1936 h 2606"/>
                <a:gd name="T14" fmla="*/ 657 w 2912"/>
                <a:gd name="T15" fmla="*/ 1722 h 2606"/>
                <a:gd name="T16" fmla="*/ 696 w 2912"/>
                <a:gd name="T17" fmla="*/ 1905 h 2606"/>
                <a:gd name="T18" fmla="*/ 811 w 2912"/>
                <a:gd name="T19" fmla="*/ 2065 h 2606"/>
                <a:gd name="T20" fmla="*/ 785 w 2912"/>
                <a:gd name="T21" fmla="*/ 1876 h 2606"/>
                <a:gd name="T22" fmla="*/ 1906 w 2912"/>
                <a:gd name="T23" fmla="*/ 2072 h 2606"/>
                <a:gd name="T24" fmla="*/ 2035 w 2912"/>
                <a:gd name="T25" fmla="*/ 1946 h 2606"/>
                <a:gd name="T26" fmla="*/ 1981 w 2912"/>
                <a:gd name="T27" fmla="*/ 1927 h 2606"/>
                <a:gd name="T28" fmla="*/ 1942 w 2912"/>
                <a:gd name="T29" fmla="*/ 1876 h 2606"/>
                <a:gd name="T30" fmla="*/ 1234 w 2912"/>
                <a:gd name="T31" fmla="*/ 1932 h 2606"/>
                <a:gd name="T32" fmla="*/ 1362 w 2912"/>
                <a:gd name="T33" fmla="*/ 2054 h 2606"/>
                <a:gd name="T34" fmla="*/ 1389 w 2912"/>
                <a:gd name="T35" fmla="*/ 2143 h 2606"/>
                <a:gd name="T36" fmla="*/ 1291 w 2912"/>
                <a:gd name="T37" fmla="*/ 1984 h 2606"/>
                <a:gd name="T38" fmla="*/ 1629 w 2912"/>
                <a:gd name="T39" fmla="*/ 1868 h 2606"/>
                <a:gd name="T40" fmla="*/ 1539 w 2912"/>
                <a:gd name="T41" fmla="*/ 1980 h 2606"/>
                <a:gd name="T42" fmla="*/ 1718 w 2912"/>
                <a:gd name="T43" fmla="*/ 1905 h 2606"/>
                <a:gd name="T44" fmla="*/ 1590 w 2912"/>
                <a:gd name="T45" fmla="*/ 1990 h 2606"/>
                <a:gd name="T46" fmla="*/ 1611 w 2912"/>
                <a:gd name="T47" fmla="*/ 2024 h 2606"/>
                <a:gd name="T48" fmla="*/ 2113 w 2912"/>
                <a:gd name="T49" fmla="*/ 1968 h 2606"/>
                <a:gd name="T50" fmla="*/ 2100 w 2912"/>
                <a:gd name="T51" fmla="*/ 1841 h 2606"/>
                <a:gd name="T52" fmla="*/ 2160 w 2912"/>
                <a:gd name="T53" fmla="*/ 2079 h 2606"/>
                <a:gd name="T54" fmla="*/ 2189 w 2912"/>
                <a:gd name="T55" fmla="*/ 1904 h 2606"/>
                <a:gd name="T56" fmla="*/ 2742 w 2912"/>
                <a:gd name="T57" fmla="*/ 1949 h 2606"/>
                <a:gd name="T58" fmla="*/ 2575 w 2912"/>
                <a:gd name="T59" fmla="*/ 1875 h 2606"/>
                <a:gd name="T60" fmla="*/ 2689 w 2912"/>
                <a:gd name="T61" fmla="*/ 2072 h 2606"/>
                <a:gd name="T62" fmla="*/ 2488 w 2912"/>
                <a:gd name="T63" fmla="*/ 1986 h 2606"/>
                <a:gd name="T64" fmla="*/ 2456 w 2912"/>
                <a:gd name="T65" fmla="*/ 2064 h 2606"/>
                <a:gd name="T66" fmla="*/ 2324 w 2912"/>
                <a:gd name="T67" fmla="*/ 2074 h 2606"/>
                <a:gd name="T68" fmla="*/ 2353 w 2912"/>
                <a:gd name="T69" fmla="*/ 2018 h 2606"/>
                <a:gd name="T70" fmla="*/ 2827 w 2912"/>
                <a:gd name="T71" fmla="*/ 1825 h 2606"/>
                <a:gd name="T72" fmla="*/ 919 w 2912"/>
                <a:gd name="T73" fmla="*/ 2072 h 2606"/>
                <a:gd name="T74" fmla="*/ 2278 w 2912"/>
                <a:gd name="T75" fmla="*/ 2305 h 2606"/>
                <a:gd name="T76" fmla="*/ 2367 w 2912"/>
                <a:gd name="T77" fmla="*/ 2508 h 2606"/>
                <a:gd name="T78" fmla="*/ 2344 w 2912"/>
                <a:gd name="T79" fmla="*/ 2311 h 2606"/>
                <a:gd name="T80" fmla="*/ 591 w 2912"/>
                <a:gd name="T81" fmla="*/ 2315 h 2606"/>
                <a:gd name="T82" fmla="*/ 634 w 2912"/>
                <a:gd name="T83" fmla="*/ 2327 h 2606"/>
                <a:gd name="T84" fmla="*/ 190 w 2912"/>
                <a:gd name="T85" fmla="*/ 2379 h 2606"/>
                <a:gd name="T86" fmla="*/ 292 w 2912"/>
                <a:gd name="T87" fmla="*/ 2422 h 2606"/>
                <a:gd name="T88" fmla="*/ 475 w 2912"/>
                <a:gd name="T89" fmla="*/ 2422 h 2606"/>
                <a:gd name="T90" fmla="*/ 353 w 2912"/>
                <a:gd name="T91" fmla="*/ 2434 h 2606"/>
                <a:gd name="T92" fmla="*/ 414 w 2912"/>
                <a:gd name="T93" fmla="*/ 2434 h 2606"/>
                <a:gd name="T94" fmla="*/ 2072 w 2912"/>
                <a:gd name="T95" fmla="*/ 2273 h 2606"/>
                <a:gd name="T96" fmla="*/ 1506 w 2912"/>
                <a:gd name="T97" fmla="*/ 2258 h 2606"/>
                <a:gd name="T98" fmla="*/ 1827 w 2912"/>
                <a:gd name="T99" fmla="*/ 2280 h 2606"/>
                <a:gd name="T100" fmla="*/ 1888 w 2912"/>
                <a:gd name="T101" fmla="*/ 2511 h 2606"/>
                <a:gd name="T102" fmla="*/ 1943 w 2912"/>
                <a:gd name="T103" fmla="*/ 2274 h 2606"/>
                <a:gd name="T104" fmla="*/ 1888 w 2912"/>
                <a:gd name="T105" fmla="*/ 2310 h 2606"/>
                <a:gd name="T106" fmla="*/ 723 w 2912"/>
                <a:gd name="T107" fmla="*/ 2155 h 2606"/>
                <a:gd name="T108" fmla="*/ 1133 w 2912"/>
                <a:gd name="T109" fmla="*/ 2269 h 2606"/>
                <a:gd name="T110" fmla="*/ 1045 w 2912"/>
                <a:gd name="T111" fmla="*/ 2324 h 2606"/>
                <a:gd name="T112" fmla="*/ 1207 w 2912"/>
                <a:gd name="T113" fmla="*/ 2315 h 2606"/>
                <a:gd name="T114" fmla="*/ 1306 w 2912"/>
                <a:gd name="T115" fmla="*/ 2505 h 2606"/>
                <a:gd name="T116" fmla="*/ 1323 w 2912"/>
                <a:gd name="T117" fmla="*/ 2599 h 2606"/>
                <a:gd name="T118" fmla="*/ 1277 w 2912"/>
                <a:gd name="T119" fmla="*/ 2451 h 2606"/>
                <a:gd name="T120" fmla="*/ 937 w 2912"/>
                <a:gd name="T121" fmla="*/ 2367 h 2606"/>
                <a:gd name="T122" fmla="*/ 375 w 2912"/>
                <a:gd name="T123" fmla="*/ 1073 h 2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12" h="2606">
                  <a:moveTo>
                    <a:pt x="242" y="1964"/>
                  </a:moveTo>
                  <a:lnTo>
                    <a:pt x="242" y="1964"/>
                  </a:lnTo>
                  <a:lnTo>
                    <a:pt x="242" y="1956"/>
                  </a:lnTo>
                  <a:lnTo>
                    <a:pt x="241" y="1948"/>
                  </a:lnTo>
                  <a:lnTo>
                    <a:pt x="238" y="1934"/>
                  </a:lnTo>
                  <a:lnTo>
                    <a:pt x="233" y="1921"/>
                  </a:lnTo>
                  <a:lnTo>
                    <a:pt x="227" y="1911"/>
                  </a:lnTo>
                  <a:lnTo>
                    <a:pt x="220" y="1904"/>
                  </a:lnTo>
                  <a:lnTo>
                    <a:pt x="212" y="1898"/>
                  </a:lnTo>
                  <a:lnTo>
                    <a:pt x="206" y="1893"/>
                  </a:lnTo>
                  <a:lnTo>
                    <a:pt x="200" y="1889"/>
                  </a:lnTo>
                  <a:lnTo>
                    <a:pt x="200" y="1889"/>
                  </a:lnTo>
                  <a:lnTo>
                    <a:pt x="207" y="1883"/>
                  </a:lnTo>
                  <a:lnTo>
                    <a:pt x="213" y="1877"/>
                  </a:lnTo>
                  <a:lnTo>
                    <a:pt x="219" y="1870"/>
                  </a:lnTo>
                  <a:lnTo>
                    <a:pt x="224" y="1861"/>
                  </a:lnTo>
                  <a:lnTo>
                    <a:pt x="228" y="1852"/>
                  </a:lnTo>
                  <a:lnTo>
                    <a:pt x="230" y="1843"/>
                  </a:lnTo>
                  <a:lnTo>
                    <a:pt x="232" y="1833"/>
                  </a:lnTo>
                  <a:lnTo>
                    <a:pt x="232" y="1822"/>
                  </a:lnTo>
                  <a:lnTo>
                    <a:pt x="232" y="1822"/>
                  </a:lnTo>
                  <a:lnTo>
                    <a:pt x="232" y="1812"/>
                  </a:lnTo>
                  <a:lnTo>
                    <a:pt x="231" y="1802"/>
                  </a:lnTo>
                  <a:lnTo>
                    <a:pt x="229" y="1793"/>
                  </a:lnTo>
                  <a:lnTo>
                    <a:pt x="227" y="1785"/>
                  </a:lnTo>
                  <a:lnTo>
                    <a:pt x="224" y="1776"/>
                  </a:lnTo>
                  <a:lnTo>
                    <a:pt x="220" y="1769"/>
                  </a:lnTo>
                  <a:lnTo>
                    <a:pt x="214" y="1763"/>
                  </a:lnTo>
                  <a:lnTo>
                    <a:pt x="209" y="1756"/>
                  </a:lnTo>
                  <a:lnTo>
                    <a:pt x="203" y="1752"/>
                  </a:lnTo>
                  <a:lnTo>
                    <a:pt x="197" y="1747"/>
                  </a:lnTo>
                  <a:lnTo>
                    <a:pt x="189" y="1743"/>
                  </a:lnTo>
                  <a:lnTo>
                    <a:pt x="181" y="1739"/>
                  </a:lnTo>
                  <a:lnTo>
                    <a:pt x="173" y="1737"/>
                  </a:lnTo>
                  <a:lnTo>
                    <a:pt x="163" y="1734"/>
                  </a:lnTo>
                  <a:lnTo>
                    <a:pt x="154" y="1734"/>
                  </a:lnTo>
                  <a:lnTo>
                    <a:pt x="144" y="1733"/>
                  </a:lnTo>
                  <a:lnTo>
                    <a:pt x="21" y="1733"/>
                  </a:lnTo>
                  <a:lnTo>
                    <a:pt x="21" y="2072"/>
                  </a:lnTo>
                  <a:lnTo>
                    <a:pt x="143" y="2072"/>
                  </a:lnTo>
                  <a:lnTo>
                    <a:pt x="143" y="2072"/>
                  </a:lnTo>
                  <a:lnTo>
                    <a:pt x="154" y="2072"/>
                  </a:lnTo>
                  <a:lnTo>
                    <a:pt x="164" y="2071"/>
                  </a:lnTo>
                  <a:lnTo>
                    <a:pt x="175" y="2069"/>
                  </a:lnTo>
                  <a:lnTo>
                    <a:pt x="184" y="2065"/>
                  </a:lnTo>
                  <a:lnTo>
                    <a:pt x="194" y="2061"/>
                  </a:lnTo>
                  <a:lnTo>
                    <a:pt x="202" y="2056"/>
                  </a:lnTo>
                  <a:lnTo>
                    <a:pt x="209" y="2050"/>
                  </a:lnTo>
                  <a:lnTo>
                    <a:pt x="215" y="2044"/>
                  </a:lnTo>
                  <a:lnTo>
                    <a:pt x="222" y="2037"/>
                  </a:lnTo>
                  <a:lnTo>
                    <a:pt x="227" y="2028"/>
                  </a:lnTo>
                  <a:lnTo>
                    <a:pt x="232" y="2020"/>
                  </a:lnTo>
                  <a:lnTo>
                    <a:pt x="235" y="2010"/>
                  </a:lnTo>
                  <a:lnTo>
                    <a:pt x="238" y="2000"/>
                  </a:lnTo>
                  <a:lnTo>
                    <a:pt x="240" y="1989"/>
                  </a:lnTo>
                  <a:lnTo>
                    <a:pt x="241" y="1977"/>
                  </a:lnTo>
                  <a:lnTo>
                    <a:pt x="242" y="1964"/>
                  </a:lnTo>
                  <a:lnTo>
                    <a:pt x="242" y="1964"/>
                  </a:lnTo>
                  <a:close/>
                  <a:moveTo>
                    <a:pt x="143" y="2016"/>
                  </a:moveTo>
                  <a:lnTo>
                    <a:pt x="74" y="2016"/>
                  </a:lnTo>
                  <a:lnTo>
                    <a:pt x="74" y="1919"/>
                  </a:lnTo>
                  <a:lnTo>
                    <a:pt x="143" y="1919"/>
                  </a:lnTo>
                  <a:lnTo>
                    <a:pt x="143" y="1919"/>
                  </a:lnTo>
                  <a:lnTo>
                    <a:pt x="153" y="1920"/>
                  </a:lnTo>
                  <a:lnTo>
                    <a:pt x="161" y="1921"/>
                  </a:lnTo>
                  <a:lnTo>
                    <a:pt x="169" y="1925"/>
                  </a:lnTo>
                  <a:lnTo>
                    <a:pt x="175" y="1931"/>
                  </a:lnTo>
                  <a:lnTo>
                    <a:pt x="180" y="1937"/>
                  </a:lnTo>
                  <a:lnTo>
                    <a:pt x="183" y="1946"/>
                  </a:lnTo>
                  <a:lnTo>
                    <a:pt x="185" y="1956"/>
                  </a:lnTo>
                  <a:lnTo>
                    <a:pt x="186" y="1967"/>
                  </a:lnTo>
                  <a:lnTo>
                    <a:pt x="186" y="1967"/>
                  </a:lnTo>
                  <a:lnTo>
                    <a:pt x="185" y="1978"/>
                  </a:lnTo>
                  <a:lnTo>
                    <a:pt x="183" y="1988"/>
                  </a:lnTo>
                  <a:lnTo>
                    <a:pt x="179" y="1996"/>
                  </a:lnTo>
                  <a:lnTo>
                    <a:pt x="175" y="2002"/>
                  </a:lnTo>
                  <a:lnTo>
                    <a:pt x="169" y="2009"/>
                  </a:lnTo>
                  <a:lnTo>
                    <a:pt x="161" y="2012"/>
                  </a:lnTo>
                  <a:lnTo>
                    <a:pt x="152" y="2015"/>
                  </a:lnTo>
                  <a:lnTo>
                    <a:pt x="143" y="2016"/>
                  </a:lnTo>
                  <a:lnTo>
                    <a:pt x="143" y="2016"/>
                  </a:lnTo>
                  <a:close/>
                  <a:moveTo>
                    <a:pt x="142" y="1863"/>
                  </a:moveTo>
                  <a:lnTo>
                    <a:pt x="74" y="1863"/>
                  </a:lnTo>
                  <a:lnTo>
                    <a:pt x="74" y="1791"/>
                  </a:lnTo>
                  <a:lnTo>
                    <a:pt x="139" y="1791"/>
                  </a:lnTo>
                  <a:lnTo>
                    <a:pt x="139" y="1791"/>
                  </a:lnTo>
                  <a:lnTo>
                    <a:pt x="148" y="1792"/>
                  </a:lnTo>
                  <a:lnTo>
                    <a:pt x="156" y="1793"/>
                  </a:lnTo>
                  <a:lnTo>
                    <a:pt x="162" y="1796"/>
                  </a:lnTo>
                  <a:lnTo>
                    <a:pt x="168" y="1800"/>
                  </a:lnTo>
                  <a:lnTo>
                    <a:pt x="172" y="1806"/>
                  </a:lnTo>
                  <a:lnTo>
                    <a:pt x="175" y="1812"/>
                  </a:lnTo>
                  <a:lnTo>
                    <a:pt x="176" y="1819"/>
                  </a:lnTo>
                  <a:lnTo>
                    <a:pt x="177" y="1828"/>
                  </a:lnTo>
                  <a:lnTo>
                    <a:pt x="177" y="1828"/>
                  </a:lnTo>
                  <a:lnTo>
                    <a:pt x="177" y="1834"/>
                  </a:lnTo>
                  <a:lnTo>
                    <a:pt x="176" y="1840"/>
                  </a:lnTo>
                  <a:lnTo>
                    <a:pt x="174" y="1846"/>
                  </a:lnTo>
                  <a:lnTo>
                    <a:pt x="171" y="1851"/>
                  </a:lnTo>
                  <a:lnTo>
                    <a:pt x="165" y="1856"/>
                  </a:lnTo>
                  <a:lnTo>
                    <a:pt x="159" y="1860"/>
                  </a:lnTo>
                  <a:lnTo>
                    <a:pt x="152" y="1862"/>
                  </a:lnTo>
                  <a:lnTo>
                    <a:pt x="142" y="1863"/>
                  </a:lnTo>
                  <a:lnTo>
                    <a:pt x="142" y="1863"/>
                  </a:lnTo>
                  <a:close/>
                  <a:moveTo>
                    <a:pt x="279" y="1965"/>
                  </a:moveTo>
                  <a:lnTo>
                    <a:pt x="279" y="1825"/>
                  </a:lnTo>
                  <a:lnTo>
                    <a:pt x="331" y="1825"/>
                  </a:lnTo>
                  <a:lnTo>
                    <a:pt x="331" y="1962"/>
                  </a:lnTo>
                  <a:lnTo>
                    <a:pt x="331" y="1962"/>
                  </a:lnTo>
                  <a:lnTo>
                    <a:pt x="331" y="1975"/>
                  </a:lnTo>
                  <a:lnTo>
                    <a:pt x="333" y="1989"/>
                  </a:lnTo>
                  <a:lnTo>
                    <a:pt x="336" y="1999"/>
                  </a:lnTo>
                  <a:lnTo>
                    <a:pt x="340" y="2007"/>
                  </a:lnTo>
                  <a:lnTo>
                    <a:pt x="346" y="2013"/>
                  </a:lnTo>
                  <a:lnTo>
                    <a:pt x="352" y="2018"/>
                  </a:lnTo>
                  <a:lnTo>
                    <a:pt x="360" y="2021"/>
                  </a:lnTo>
                  <a:lnTo>
                    <a:pt x="369" y="2022"/>
                  </a:lnTo>
                  <a:lnTo>
                    <a:pt x="369" y="2022"/>
                  </a:lnTo>
                  <a:lnTo>
                    <a:pt x="379" y="2021"/>
                  </a:lnTo>
                  <a:lnTo>
                    <a:pt x="386" y="2018"/>
                  </a:lnTo>
                  <a:lnTo>
                    <a:pt x="393" y="2013"/>
                  </a:lnTo>
                  <a:lnTo>
                    <a:pt x="399" y="2007"/>
                  </a:lnTo>
                  <a:lnTo>
                    <a:pt x="403" y="1999"/>
                  </a:lnTo>
                  <a:lnTo>
                    <a:pt x="406" y="1988"/>
                  </a:lnTo>
                  <a:lnTo>
                    <a:pt x="408" y="1975"/>
                  </a:lnTo>
                  <a:lnTo>
                    <a:pt x="408" y="1962"/>
                  </a:lnTo>
                  <a:lnTo>
                    <a:pt x="408" y="1825"/>
                  </a:lnTo>
                  <a:lnTo>
                    <a:pt x="460" y="1825"/>
                  </a:lnTo>
                  <a:lnTo>
                    <a:pt x="460" y="2072"/>
                  </a:lnTo>
                  <a:lnTo>
                    <a:pt x="408" y="2072"/>
                  </a:lnTo>
                  <a:lnTo>
                    <a:pt x="408" y="2053"/>
                  </a:lnTo>
                  <a:lnTo>
                    <a:pt x="408" y="2053"/>
                  </a:lnTo>
                  <a:lnTo>
                    <a:pt x="404" y="2059"/>
                  </a:lnTo>
                  <a:lnTo>
                    <a:pt x="398" y="2064"/>
                  </a:lnTo>
                  <a:lnTo>
                    <a:pt x="392" y="2069"/>
                  </a:lnTo>
                  <a:lnTo>
                    <a:pt x="386" y="2071"/>
                  </a:lnTo>
                  <a:lnTo>
                    <a:pt x="380" y="2075"/>
                  </a:lnTo>
                  <a:lnTo>
                    <a:pt x="373" y="2076"/>
                  </a:lnTo>
                  <a:lnTo>
                    <a:pt x="365" y="2077"/>
                  </a:lnTo>
                  <a:lnTo>
                    <a:pt x="358" y="2079"/>
                  </a:lnTo>
                  <a:lnTo>
                    <a:pt x="358" y="2079"/>
                  </a:lnTo>
                  <a:lnTo>
                    <a:pt x="346" y="2077"/>
                  </a:lnTo>
                  <a:lnTo>
                    <a:pt x="335" y="2075"/>
                  </a:lnTo>
                  <a:lnTo>
                    <a:pt x="326" y="2071"/>
                  </a:lnTo>
                  <a:lnTo>
                    <a:pt x="316" y="2066"/>
                  </a:lnTo>
                  <a:lnTo>
                    <a:pt x="309" y="2060"/>
                  </a:lnTo>
                  <a:lnTo>
                    <a:pt x="303" y="2054"/>
                  </a:lnTo>
                  <a:lnTo>
                    <a:pt x="298" y="2045"/>
                  </a:lnTo>
                  <a:lnTo>
                    <a:pt x="292" y="2037"/>
                  </a:lnTo>
                  <a:lnTo>
                    <a:pt x="289" y="2028"/>
                  </a:lnTo>
                  <a:lnTo>
                    <a:pt x="286" y="2020"/>
                  </a:lnTo>
                  <a:lnTo>
                    <a:pt x="282" y="2000"/>
                  </a:lnTo>
                  <a:lnTo>
                    <a:pt x="280" y="1981"/>
                  </a:lnTo>
                  <a:lnTo>
                    <a:pt x="279" y="1965"/>
                  </a:lnTo>
                  <a:lnTo>
                    <a:pt x="279" y="1965"/>
                  </a:lnTo>
                  <a:close/>
                  <a:moveTo>
                    <a:pt x="1070" y="2072"/>
                  </a:moveTo>
                  <a:lnTo>
                    <a:pt x="1018" y="2072"/>
                  </a:lnTo>
                  <a:lnTo>
                    <a:pt x="1018" y="1825"/>
                  </a:lnTo>
                  <a:lnTo>
                    <a:pt x="1070" y="1825"/>
                  </a:lnTo>
                  <a:lnTo>
                    <a:pt x="1070" y="1846"/>
                  </a:lnTo>
                  <a:lnTo>
                    <a:pt x="1070" y="1846"/>
                  </a:lnTo>
                  <a:lnTo>
                    <a:pt x="1075" y="1840"/>
                  </a:lnTo>
                  <a:lnTo>
                    <a:pt x="1080" y="1834"/>
                  </a:lnTo>
                  <a:lnTo>
                    <a:pt x="1087" y="1830"/>
                  </a:lnTo>
                  <a:lnTo>
                    <a:pt x="1093" y="1827"/>
                  </a:lnTo>
                  <a:lnTo>
                    <a:pt x="1100" y="1823"/>
                  </a:lnTo>
                  <a:lnTo>
                    <a:pt x="1106" y="1822"/>
                  </a:lnTo>
                  <a:lnTo>
                    <a:pt x="1115" y="1820"/>
                  </a:lnTo>
                  <a:lnTo>
                    <a:pt x="1122" y="1819"/>
                  </a:lnTo>
                  <a:lnTo>
                    <a:pt x="1122" y="1819"/>
                  </a:lnTo>
                  <a:lnTo>
                    <a:pt x="1131" y="1820"/>
                  </a:lnTo>
                  <a:lnTo>
                    <a:pt x="1140" y="1822"/>
                  </a:lnTo>
                  <a:lnTo>
                    <a:pt x="1148" y="1824"/>
                  </a:lnTo>
                  <a:lnTo>
                    <a:pt x="1155" y="1827"/>
                  </a:lnTo>
                  <a:lnTo>
                    <a:pt x="1163" y="1830"/>
                  </a:lnTo>
                  <a:lnTo>
                    <a:pt x="1169" y="1836"/>
                  </a:lnTo>
                  <a:lnTo>
                    <a:pt x="1174" y="1841"/>
                  </a:lnTo>
                  <a:lnTo>
                    <a:pt x="1179" y="1849"/>
                  </a:lnTo>
                  <a:lnTo>
                    <a:pt x="1184" y="1856"/>
                  </a:lnTo>
                  <a:lnTo>
                    <a:pt x="1187" y="1865"/>
                  </a:lnTo>
                  <a:lnTo>
                    <a:pt x="1192" y="1873"/>
                  </a:lnTo>
                  <a:lnTo>
                    <a:pt x="1194" y="1883"/>
                  </a:lnTo>
                  <a:lnTo>
                    <a:pt x="1196" y="1894"/>
                  </a:lnTo>
                  <a:lnTo>
                    <a:pt x="1198" y="1906"/>
                  </a:lnTo>
                  <a:lnTo>
                    <a:pt x="1199" y="1919"/>
                  </a:lnTo>
                  <a:lnTo>
                    <a:pt x="1199" y="1932"/>
                  </a:lnTo>
                  <a:lnTo>
                    <a:pt x="1199" y="2072"/>
                  </a:lnTo>
                  <a:lnTo>
                    <a:pt x="1147" y="2072"/>
                  </a:lnTo>
                  <a:lnTo>
                    <a:pt x="1147" y="1936"/>
                  </a:lnTo>
                  <a:lnTo>
                    <a:pt x="1147" y="1936"/>
                  </a:lnTo>
                  <a:lnTo>
                    <a:pt x="1147" y="1921"/>
                  </a:lnTo>
                  <a:lnTo>
                    <a:pt x="1145" y="1909"/>
                  </a:lnTo>
                  <a:lnTo>
                    <a:pt x="1142" y="1899"/>
                  </a:lnTo>
                  <a:lnTo>
                    <a:pt x="1138" y="1890"/>
                  </a:lnTo>
                  <a:lnTo>
                    <a:pt x="1132" y="1884"/>
                  </a:lnTo>
                  <a:lnTo>
                    <a:pt x="1126" y="1879"/>
                  </a:lnTo>
                  <a:lnTo>
                    <a:pt x="1119" y="1877"/>
                  </a:lnTo>
                  <a:lnTo>
                    <a:pt x="1109" y="1876"/>
                  </a:lnTo>
                  <a:lnTo>
                    <a:pt x="1109" y="1876"/>
                  </a:lnTo>
                  <a:lnTo>
                    <a:pt x="1100" y="1877"/>
                  </a:lnTo>
                  <a:lnTo>
                    <a:pt x="1092" y="1879"/>
                  </a:lnTo>
                  <a:lnTo>
                    <a:pt x="1085" y="1884"/>
                  </a:lnTo>
                  <a:lnTo>
                    <a:pt x="1080" y="1890"/>
                  </a:lnTo>
                  <a:lnTo>
                    <a:pt x="1075" y="1899"/>
                  </a:lnTo>
                  <a:lnTo>
                    <a:pt x="1072" y="1910"/>
                  </a:lnTo>
                  <a:lnTo>
                    <a:pt x="1070" y="1922"/>
                  </a:lnTo>
                  <a:lnTo>
                    <a:pt x="1070" y="1936"/>
                  </a:lnTo>
                  <a:lnTo>
                    <a:pt x="1070" y="2072"/>
                  </a:lnTo>
                  <a:close/>
                  <a:moveTo>
                    <a:pt x="559" y="1948"/>
                  </a:moveTo>
                  <a:lnTo>
                    <a:pt x="559" y="2072"/>
                  </a:lnTo>
                  <a:lnTo>
                    <a:pt x="507" y="2072"/>
                  </a:lnTo>
                  <a:lnTo>
                    <a:pt x="507" y="1825"/>
                  </a:lnTo>
                  <a:lnTo>
                    <a:pt x="559" y="1825"/>
                  </a:lnTo>
                  <a:lnTo>
                    <a:pt x="559" y="1948"/>
                  </a:lnTo>
                  <a:close/>
                  <a:moveTo>
                    <a:pt x="605" y="1753"/>
                  </a:moveTo>
                  <a:lnTo>
                    <a:pt x="657" y="1722"/>
                  </a:lnTo>
                  <a:lnTo>
                    <a:pt x="657" y="1946"/>
                  </a:lnTo>
                  <a:lnTo>
                    <a:pt x="657" y="2072"/>
                  </a:lnTo>
                  <a:lnTo>
                    <a:pt x="605" y="2072"/>
                  </a:lnTo>
                  <a:lnTo>
                    <a:pt x="605" y="1753"/>
                  </a:lnTo>
                  <a:close/>
                  <a:moveTo>
                    <a:pt x="821" y="1843"/>
                  </a:moveTo>
                  <a:lnTo>
                    <a:pt x="821" y="1843"/>
                  </a:lnTo>
                  <a:lnTo>
                    <a:pt x="817" y="1836"/>
                  </a:lnTo>
                  <a:lnTo>
                    <a:pt x="812" y="1833"/>
                  </a:lnTo>
                  <a:lnTo>
                    <a:pt x="806" y="1828"/>
                  </a:lnTo>
                  <a:lnTo>
                    <a:pt x="800" y="1825"/>
                  </a:lnTo>
                  <a:lnTo>
                    <a:pt x="794" y="1823"/>
                  </a:lnTo>
                  <a:lnTo>
                    <a:pt x="788" y="1820"/>
                  </a:lnTo>
                  <a:lnTo>
                    <a:pt x="775" y="1819"/>
                  </a:lnTo>
                  <a:lnTo>
                    <a:pt x="775" y="1819"/>
                  </a:lnTo>
                  <a:lnTo>
                    <a:pt x="766" y="1820"/>
                  </a:lnTo>
                  <a:lnTo>
                    <a:pt x="757" y="1822"/>
                  </a:lnTo>
                  <a:lnTo>
                    <a:pt x="748" y="1824"/>
                  </a:lnTo>
                  <a:lnTo>
                    <a:pt x="741" y="1828"/>
                  </a:lnTo>
                  <a:lnTo>
                    <a:pt x="734" y="1833"/>
                  </a:lnTo>
                  <a:lnTo>
                    <a:pt x="726" y="1839"/>
                  </a:lnTo>
                  <a:lnTo>
                    <a:pt x="720" y="1846"/>
                  </a:lnTo>
                  <a:lnTo>
                    <a:pt x="715" y="1854"/>
                  </a:lnTo>
                  <a:lnTo>
                    <a:pt x="710" y="1862"/>
                  </a:lnTo>
                  <a:lnTo>
                    <a:pt x="706" y="1872"/>
                  </a:lnTo>
                  <a:lnTo>
                    <a:pt x="701" y="1882"/>
                  </a:lnTo>
                  <a:lnTo>
                    <a:pt x="698" y="1893"/>
                  </a:lnTo>
                  <a:lnTo>
                    <a:pt x="696" y="1905"/>
                  </a:lnTo>
                  <a:lnTo>
                    <a:pt x="694" y="1919"/>
                  </a:lnTo>
                  <a:lnTo>
                    <a:pt x="693" y="1932"/>
                  </a:lnTo>
                  <a:lnTo>
                    <a:pt x="693" y="1946"/>
                  </a:lnTo>
                  <a:lnTo>
                    <a:pt x="693" y="1946"/>
                  </a:lnTo>
                  <a:lnTo>
                    <a:pt x="693" y="1962"/>
                  </a:lnTo>
                  <a:lnTo>
                    <a:pt x="694" y="1975"/>
                  </a:lnTo>
                  <a:lnTo>
                    <a:pt x="696" y="1989"/>
                  </a:lnTo>
                  <a:lnTo>
                    <a:pt x="698" y="2001"/>
                  </a:lnTo>
                  <a:lnTo>
                    <a:pt x="701" y="2013"/>
                  </a:lnTo>
                  <a:lnTo>
                    <a:pt x="705" y="2024"/>
                  </a:lnTo>
                  <a:lnTo>
                    <a:pt x="709" y="2034"/>
                  </a:lnTo>
                  <a:lnTo>
                    <a:pt x="714" y="2043"/>
                  </a:lnTo>
                  <a:lnTo>
                    <a:pt x="720" y="2052"/>
                  </a:lnTo>
                  <a:lnTo>
                    <a:pt x="725" y="2058"/>
                  </a:lnTo>
                  <a:lnTo>
                    <a:pt x="733" y="2064"/>
                  </a:lnTo>
                  <a:lnTo>
                    <a:pt x="740" y="2069"/>
                  </a:lnTo>
                  <a:lnTo>
                    <a:pt x="747" y="2072"/>
                  </a:lnTo>
                  <a:lnTo>
                    <a:pt x="756" y="2076"/>
                  </a:lnTo>
                  <a:lnTo>
                    <a:pt x="765" y="2077"/>
                  </a:lnTo>
                  <a:lnTo>
                    <a:pt x="774" y="2079"/>
                  </a:lnTo>
                  <a:lnTo>
                    <a:pt x="774" y="2079"/>
                  </a:lnTo>
                  <a:lnTo>
                    <a:pt x="781" y="2077"/>
                  </a:lnTo>
                  <a:lnTo>
                    <a:pt x="787" y="2076"/>
                  </a:lnTo>
                  <a:lnTo>
                    <a:pt x="793" y="2075"/>
                  </a:lnTo>
                  <a:lnTo>
                    <a:pt x="799" y="2072"/>
                  </a:lnTo>
                  <a:lnTo>
                    <a:pt x="804" y="2069"/>
                  </a:lnTo>
                  <a:lnTo>
                    <a:pt x="811" y="2065"/>
                  </a:lnTo>
                  <a:lnTo>
                    <a:pt x="816" y="2060"/>
                  </a:lnTo>
                  <a:lnTo>
                    <a:pt x="821" y="2054"/>
                  </a:lnTo>
                  <a:lnTo>
                    <a:pt x="821" y="2072"/>
                  </a:lnTo>
                  <a:lnTo>
                    <a:pt x="873" y="2072"/>
                  </a:lnTo>
                  <a:lnTo>
                    <a:pt x="873" y="1722"/>
                  </a:lnTo>
                  <a:lnTo>
                    <a:pt x="821" y="1753"/>
                  </a:lnTo>
                  <a:lnTo>
                    <a:pt x="821" y="1843"/>
                  </a:lnTo>
                  <a:close/>
                  <a:moveTo>
                    <a:pt x="785" y="2022"/>
                  </a:moveTo>
                  <a:lnTo>
                    <a:pt x="785" y="2022"/>
                  </a:lnTo>
                  <a:lnTo>
                    <a:pt x="778" y="2021"/>
                  </a:lnTo>
                  <a:lnTo>
                    <a:pt x="771" y="2018"/>
                  </a:lnTo>
                  <a:lnTo>
                    <a:pt x="765" y="2015"/>
                  </a:lnTo>
                  <a:lnTo>
                    <a:pt x="759" y="2007"/>
                  </a:lnTo>
                  <a:lnTo>
                    <a:pt x="753" y="1997"/>
                  </a:lnTo>
                  <a:lnTo>
                    <a:pt x="749" y="1984"/>
                  </a:lnTo>
                  <a:lnTo>
                    <a:pt x="746" y="1967"/>
                  </a:lnTo>
                  <a:lnTo>
                    <a:pt x="745" y="1945"/>
                  </a:lnTo>
                  <a:lnTo>
                    <a:pt x="745" y="1945"/>
                  </a:lnTo>
                  <a:lnTo>
                    <a:pt x="746" y="1925"/>
                  </a:lnTo>
                  <a:lnTo>
                    <a:pt x="749" y="1910"/>
                  </a:lnTo>
                  <a:lnTo>
                    <a:pt x="753" y="1898"/>
                  </a:lnTo>
                  <a:lnTo>
                    <a:pt x="759" y="1889"/>
                  </a:lnTo>
                  <a:lnTo>
                    <a:pt x="764" y="1882"/>
                  </a:lnTo>
                  <a:lnTo>
                    <a:pt x="771" y="1878"/>
                  </a:lnTo>
                  <a:lnTo>
                    <a:pt x="777" y="1876"/>
                  </a:lnTo>
                  <a:lnTo>
                    <a:pt x="785" y="1876"/>
                  </a:lnTo>
                  <a:lnTo>
                    <a:pt x="785" y="1876"/>
                  </a:lnTo>
                  <a:lnTo>
                    <a:pt x="791" y="1876"/>
                  </a:lnTo>
                  <a:lnTo>
                    <a:pt x="797" y="1878"/>
                  </a:lnTo>
                  <a:lnTo>
                    <a:pt x="803" y="1881"/>
                  </a:lnTo>
                  <a:lnTo>
                    <a:pt x="808" y="1884"/>
                  </a:lnTo>
                  <a:lnTo>
                    <a:pt x="812" y="1888"/>
                  </a:lnTo>
                  <a:lnTo>
                    <a:pt x="816" y="1892"/>
                  </a:lnTo>
                  <a:lnTo>
                    <a:pt x="821" y="1900"/>
                  </a:lnTo>
                  <a:lnTo>
                    <a:pt x="821" y="1997"/>
                  </a:lnTo>
                  <a:lnTo>
                    <a:pt x="821" y="1997"/>
                  </a:lnTo>
                  <a:lnTo>
                    <a:pt x="815" y="2006"/>
                  </a:lnTo>
                  <a:lnTo>
                    <a:pt x="808" y="2013"/>
                  </a:lnTo>
                  <a:lnTo>
                    <a:pt x="803" y="2017"/>
                  </a:lnTo>
                  <a:lnTo>
                    <a:pt x="797" y="2020"/>
                  </a:lnTo>
                  <a:lnTo>
                    <a:pt x="792" y="2021"/>
                  </a:lnTo>
                  <a:lnTo>
                    <a:pt x="785" y="2022"/>
                  </a:lnTo>
                  <a:lnTo>
                    <a:pt x="785" y="2022"/>
                  </a:lnTo>
                  <a:close/>
                  <a:moveTo>
                    <a:pt x="1951" y="1819"/>
                  </a:moveTo>
                  <a:lnTo>
                    <a:pt x="1951" y="1819"/>
                  </a:lnTo>
                  <a:lnTo>
                    <a:pt x="1946" y="1820"/>
                  </a:lnTo>
                  <a:lnTo>
                    <a:pt x="1940" y="1822"/>
                  </a:lnTo>
                  <a:lnTo>
                    <a:pt x="1927" y="1825"/>
                  </a:lnTo>
                  <a:lnTo>
                    <a:pt x="1916" y="1833"/>
                  </a:lnTo>
                  <a:lnTo>
                    <a:pt x="1906" y="1843"/>
                  </a:lnTo>
                  <a:lnTo>
                    <a:pt x="1906" y="1728"/>
                  </a:lnTo>
                  <a:lnTo>
                    <a:pt x="1854" y="1759"/>
                  </a:lnTo>
                  <a:lnTo>
                    <a:pt x="1854" y="2072"/>
                  </a:lnTo>
                  <a:lnTo>
                    <a:pt x="1906" y="2072"/>
                  </a:lnTo>
                  <a:lnTo>
                    <a:pt x="1906" y="2054"/>
                  </a:lnTo>
                  <a:lnTo>
                    <a:pt x="1906" y="2054"/>
                  </a:lnTo>
                  <a:lnTo>
                    <a:pt x="1910" y="2060"/>
                  </a:lnTo>
                  <a:lnTo>
                    <a:pt x="1916" y="2065"/>
                  </a:lnTo>
                  <a:lnTo>
                    <a:pt x="1921" y="2069"/>
                  </a:lnTo>
                  <a:lnTo>
                    <a:pt x="1927" y="2072"/>
                  </a:lnTo>
                  <a:lnTo>
                    <a:pt x="1933" y="2075"/>
                  </a:lnTo>
                  <a:lnTo>
                    <a:pt x="1940" y="2076"/>
                  </a:lnTo>
                  <a:lnTo>
                    <a:pt x="1946" y="2077"/>
                  </a:lnTo>
                  <a:lnTo>
                    <a:pt x="1952" y="2079"/>
                  </a:lnTo>
                  <a:lnTo>
                    <a:pt x="1952" y="2079"/>
                  </a:lnTo>
                  <a:lnTo>
                    <a:pt x="1962" y="2077"/>
                  </a:lnTo>
                  <a:lnTo>
                    <a:pt x="1971" y="2076"/>
                  </a:lnTo>
                  <a:lnTo>
                    <a:pt x="1979" y="2074"/>
                  </a:lnTo>
                  <a:lnTo>
                    <a:pt x="1988" y="2069"/>
                  </a:lnTo>
                  <a:lnTo>
                    <a:pt x="1995" y="2064"/>
                  </a:lnTo>
                  <a:lnTo>
                    <a:pt x="2001" y="2059"/>
                  </a:lnTo>
                  <a:lnTo>
                    <a:pt x="2008" y="2052"/>
                  </a:lnTo>
                  <a:lnTo>
                    <a:pt x="2013" y="2044"/>
                  </a:lnTo>
                  <a:lnTo>
                    <a:pt x="2018" y="2034"/>
                  </a:lnTo>
                  <a:lnTo>
                    <a:pt x="2022" y="2024"/>
                  </a:lnTo>
                  <a:lnTo>
                    <a:pt x="2025" y="2013"/>
                  </a:lnTo>
                  <a:lnTo>
                    <a:pt x="2028" y="2002"/>
                  </a:lnTo>
                  <a:lnTo>
                    <a:pt x="2032" y="1990"/>
                  </a:lnTo>
                  <a:lnTo>
                    <a:pt x="2033" y="1977"/>
                  </a:lnTo>
                  <a:lnTo>
                    <a:pt x="2034" y="1962"/>
                  </a:lnTo>
                  <a:lnTo>
                    <a:pt x="2035" y="1946"/>
                  </a:lnTo>
                  <a:lnTo>
                    <a:pt x="2035" y="1946"/>
                  </a:lnTo>
                  <a:lnTo>
                    <a:pt x="2034" y="1932"/>
                  </a:lnTo>
                  <a:lnTo>
                    <a:pt x="2033" y="1919"/>
                  </a:lnTo>
                  <a:lnTo>
                    <a:pt x="2030" y="1905"/>
                  </a:lnTo>
                  <a:lnTo>
                    <a:pt x="2028" y="1893"/>
                  </a:lnTo>
                  <a:lnTo>
                    <a:pt x="2025" y="1882"/>
                  </a:lnTo>
                  <a:lnTo>
                    <a:pt x="2021" y="1872"/>
                  </a:lnTo>
                  <a:lnTo>
                    <a:pt x="2017" y="1862"/>
                  </a:lnTo>
                  <a:lnTo>
                    <a:pt x="2012" y="1854"/>
                  </a:lnTo>
                  <a:lnTo>
                    <a:pt x="2007" y="1846"/>
                  </a:lnTo>
                  <a:lnTo>
                    <a:pt x="2000" y="1839"/>
                  </a:lnTo>
                  <a:lnTo>
                    <a:pt x="1993" y="1833"/>
                  </a:lnTo>
                  <a:lnTo>
                    <a:pt x="1986" y="1828"/>
                  </a:lnTo>
                  <a:lnTo>
                    <a:pt x="1978" y="1824"/>
                  </a:lnTo>
                  <a:lnTo>
                    <a:pt x="1970" y="1822"/>
                  </a:lnTo>
                  <a:lnTo>
                    <a:pt x="1961" y="1820"/>
                  </a:lnTo>
                  <a:lnTo>
                    <a:pt x="1951" y="1819"/>
                  </a:lnTo>
                  <a:lnTo>
                    <a:pt x="1951" y="1819"/>
                  </a:lnTo>
                  <a:close/>
                  <a:moveTo>
                    <a:pt x="1942" y="1876"/>
                  </a:moveTo>
                  <a:lnTo>
                    <a:pt x="1942" y="1876"/>
                  </a:lnTo>
                  <a:lnTo>
                    <a:pt x="1949" y="1877"/>
                  </a:lnTo>
                  <a:lnTo>
                    <a:pt x="1957" y="1879"/>
                  </a:lnTo>
                  <a:lnTo>
                    <a:pt x="1963" y="1884"/>
                  </a:lnTo>
                  <a:lnTo>
                    <a:pt x="1969" y="1892"/>
                  </a:lnTo>
                  <a:lnTo>
                    <a:pt x="1974" y="1900"/>
                  </a:lnTo>
                  <a:lnTo>
                    <a:pt x="1977" y="1913"/>
                  </a:lnTo>
                  <a:lnTo>
                    <a:pt x="1981" y="1927"/>
                  </a:lnTo>
                  <a:lnTo>
                    <a:pt x="1982" y="1945"/>
                  </a:lnTo>
                  <a:lnTo>
                    <a:pt x="1982" y="1945"/>
                  </a:lnTo>
                  <a:lnTo>
                    <a:pt x="1981" y="1963"/>
                  </a:lnTo>
                  <a:lnTo>
                    <a:pt x="1978" y="1979"/>
                  </a:lnTo>
                  <a:lnTo>
                    <a:pt x="1976" y="1991"/>
                  </a:lnTo>
                  <a:lnTo>
                    <a:pt x="1972" y="2002"/>
                  </a:lnTo>
                  <a:lnTo>
                    <a:pt x="1966" y="2011"/>
                  </a:lnTo>
                  <a:lnTo>
                    <a:pt x="1960" y="2017"/>
                  </a:lnTo>
                  <a:lnTo>
                    <a:pt x="1952" y="2021"/>
                  </a:lnTo>
                  <a:lnTo>
                    <a:pt x="1943" y="2022"/>
                  </a:lnTo>
                  <a:lnTo>
                    <a:pt x="1943" y="2022"/>
                  </a:lnTo>
                  <a:lnTo>
                    <a:pt x="1936" y="2021"/>
                  </a:lnTo>
                  <a:lnTo>
                    <a:pt x="1930" y="2020"/>
                  </a:lnTo>
                  <a:lnTo>
                    <a:pt x="1924" y="2016"/>
                  </a:lnTo>
                  <a:lnTo>
                    <a:pt x="1919" y="2013"/>
                  </a:lnTo>
                  <a:lnTo>
                    <a:pt x="1911" y="2005"/>
                  </a:lnTo>
                  <a:lnTo>
                    <a:pt x="1906" y="1999"/>
                  </a:lnTo>
                  <a:lnTo>
                    <a:pt x="1906" y="1900"/>
                  </a:lnTo>
                  <a:lnTo>
                    <a:pt x="1906" y="1900"/>
                  </a:lnTo>
                  <a:lnTo>
                    <a:pt x="1909" y="1895"/>
                  </a:lnTo>
                  <a:lnTo>
                    <a:pt x="1913" y="1890"/>
                  </a:lnTo>
                  <a:lnTo>
                    <a:pt x="1917" y="1886"/>
                  </a:lnTo>
                  <a:lnTo>
                    <a:pt x="1921" y="1882"/>
                  </a:lnTo>
                  <a:lnTo>
                    <a:pt x="1926" y="1879"/>
                  </a:lnTo>
                  <a:lnTo>
                    <a:pt x="1932" y="1877"/>
                  </a:lnTo>
                  <a:lnTo>
                    <a:pt x="1937" y="1876"/>
                  </a:lnTo>
                  <a:lnTo>
                    <a:pt x="1942" y="1876"/>
                  </a:lnTo>
                  <a:lnTo>
                    <a:pt x="1942" y="1876"/>
                  </a:lnTo>
                  <a:close/>
                  <a:moveTo>
                    <a:pt x="1362" y="1843"/>
                  </a:moveTo>
                  <a:lnTo>
                    <a:pt x="1362" y="1843"/>
                  </a:lnTo>
                  <a:lnTo>
                    <a:pt x="1358" y="1838"/>
                  </a:lnTo>
                  <a:lnTo>
                    <a:pt x="1353" y="1833"/>
                  </a:lnTo>
                  <a:lnTo>
                    <a:pt x="1347" y="1829"/>
                  </a:lnTo>
                  <a:lnTo>
                    <a:pt x="1342" y="1825"/>
                  </a:lnTo>
                  <a:lnTo>
                    <a:pt x="1335" y="1823"/>
                  </a:lnTo>
                  <a:lnTo>
                    <a:pt x="1329" y="1820"/>
                  </a:lnTo>
                  <a:lnTo>
                    <a:pt x="1323" y="1820"/>
                  </a:lnTo>
                  <a:lnTo>
                    <a:pt x="1317" y="1819"/>
                  </a:lnTo>
                  <a:lnTo>
                    <a:pt x="1317" y="1819"/>
                  </a:lnTo>
                  <a:lnTo>
                    <a:pt x="1307" y="1820"/>
                  </a:lnTo>
                  <a:lnTo>
                    <a:pt x="1298" y="1822"/>
                  </a:lnTo>
                  <a:lnTo>
                    <a:pt x="1289" y="1824"/>
                  </a:lnTo>
                  <a:lnTo>
                    <a:pt x="1282" y="1828"/>
                  </a:lnTo>
                  <a:lnTo>
                    <a:pt x="1275" y="1833"/>
                  </a:lnTo>
                  <a:lnTo>
                    <a:pt x="1268" y="1839"/>
                  </a:lnTo>
                  <a:lnTo>
                    <a:pt x="1261" y="1846"/>
                  </a:lnTo>
                  <a:lnTo>
                    <a:pt x="1256" y="1854"/>
                  </a:lnTo>
                  <a:lnTo>
                    <a:pt x="1251" y="1862"/>
                  </a:lnTo>
                  <a:lnTo>
                    <a:pt x="1247" y="1872"/>
                  </a:lnTo>
                  <a:lnTo>
                    <a:pt x="1243" y="1882"/>
                  </a:lnTo>
                  <a:lnTo>
                    <a:pt x="1240" y="1893"/>
                  </a:lnTo>
                  <a:lnTo>
                    <a:pt x="1237" y="1905"/>
                  </a:lnTo>
                  <a:lnTo>
                    <a:pt x="1235" y="1919"/>
                  </a:lnTo>
                  <a:lnTo>
                    <a:pt x="1234" y="1932"/>
                  </a:lnTo>
                  <a:lnTo>
                    <a:pt x="1234" y="1946"/>
                  </a:lnTo>
                  <a:lnTo>
                    <a:pt x="1234" y="1946"/>
                  </a:lnTo>
                  <a:lnTo>
                    <a:pt x="1234" y="1962"/>
                  </a:lnTo>
                  <a:lnTo>
                    <a:pt x="1235" y="1975"/>
                  </a:lnTo>
                  <a:lnTo>
                    <a:pt x="1237" y="1989"/>
                  </a:lnTo>
                  <a:lnTo>
                    <a:pt x="1240" y="2001"/>
                  </a:lnTo>
                  <a:lnTo>
                    <a:pt x="1243" y="2013"/>
                  </a:lnTo>
                  <a:lnTo>
                    <a:pt x="1246" y="2024"/>
                  </a:lnTo>
                  <a:lnTo>
                    <a:pt x="1251" y="2034"/>
                  </a:lnTo>
                  <a:lnTo>
                    <a:pt x="1255" y="2043"/>
                  </a:lnTo>
                  <a:lnTo>
                    <a:pt x="1261" y="2052"/>
                  </a:lnTo>
                  <a:lnTo>
                    <a:pt x="1267" y="2058"/>
                  </a:lnTo>
                  <a:lnTo>
                    <a:pt x="1274" y="2064"/>
                  </a:lnTo>
                  <a:lnTo>
                    <a:pt x="1281" y="2069"/>
                  </a:lnTo>
                  <a:lnTo>
                    <a:pt x="1288" y="2072"/>
                  </a:lnTo>
                  <a:lnTo>
                    <a:pt x="1297" y="2076"/>
                  </a:lnTo>
                  <a:lnTo>
                    <a:pt x="1306" y="2077"/>
                  </a:lnTo>
                  <a:lnTo>
                    <a:pt x="1315" y="2077"/>
                  </a:lnTo>
                  <a:lnTo>
                    <a:pt x="1315" y="2077"/>
                  </a:lnTo>
                  <a:lnTo>
                    <a:pt x="1322" y="2077"/>
                  </a:lnTo>
                  <a:lnTo>
                    <a:pt x="1328" y="2076"/>
                  </a:lnTo>
                  <a:lnTo>
                    <a:pt x="1334" y="2075"/>
                  </a:lnTo>
                  <a:lnTo>
                    <a:pt x="1340" y="2072"/>
                  </a:lnTo>
                  <a:lnTo>
                    <a:pt x="1347" y="2069"/>
                  </a:lnTo>
                  <a:lnTo>
                    <a:pt x="1352" y="2064"/>
                  </a:lnTo>
                  <a:lnTo>
                    <a:pt x="1357" y="2060"/>
                  </a:lnTo>
                  <a:lnTo>
                    <a:pt x="1362" y="2054"/>
                  </a:lnTo>
                  <a:lnTo>
                    <a:pt x="1362" y="2060"/>
                  </a:lnTo>
                  <a:lnTo>
                    <a:pt x="1362" y="2060"/>
                  </a:lnTo>
                  <a:lnTo>
                    <a:pt x="1362" y="2070"/>
                  </a:lnTo>
                  <a:lnTo>
                    <a:pt x="1361" y="2081"/>
                  </a:lnTo>
                  <a:lnTo>
                    <a:pt x="1359" y="2092"/>
                  </a:lnTo>
                  <a:lnTo>
                    <a:pt x="1357" y="2097"/>
                  </a:lnTo>
                  <a:lnTo>
                    <a:pt x="1354" y="2102"/>
                  </a:lnTo>
                  <a:lnTo>
                    <a:pt x="1351" y="2107"/>
                  </a:lnTo>
                  <a:lnTo>
                    <a:pt x="1347" y="2112"/>
                  </a:lnTo>
                  <a:lnTo>
                    <a:pt x="1340" y="2115"/>
                  </a:lnTo>
                  <a:lnTo>
                    <a:pt x="1334" y="2118"/>
                  </a:lnTo>
                  <a:lnTo>
                    <a:pt x="1327" y="2122"/>
                  </a:lnTo>
                  <a:lnTo>
                    <a:pt x="1318" y="2123"/>
                  </a:lnTo>
                  <a:lnTo>
                    <a:pt x="1307" y="2125"/>
                  </a:lnTo>
                  <a:lnTo>
                    <a:pt x="1296" y="2125"/>
                  </a:lnTo>
                  <a:lnTo>
                    <a:pt x="1294" y="2125"/>
                  </a:lnTo>
                  <a:lnTo>
                    <a:pt x="1311" y="2173"/>
                  </a:lnTo>
                  <a:lnTo>
                    <a:pt x="1312" y="2173"/>
                  </a:lnTo>
                  <a:lnTo>
                    <a:pt x="1312" y="2173"/>
                  </a:lnTo>
                  <a:lnTo>
                    <a:pt x="1325" y="2173"/>
                  </a:lnTo>
                  <a:lnTo>
                    <a:pt x="1336" y="2171"/>
                  </a:lnTo>
                  <a:lnTo>
                    <a:pt x="1348" y="2168"/>
                  </a:lnTo>
                  <a:lnTo>
                    <a:pt x="1357" y="2165"/>
                  </a:lnTo>
                  <a:lnTo>
                    <a:pt x="1366" y="2161"/>
                  </a:lnTo>
                  <a:lnTo>
                    <a:pt x="1375" y="2156"/>
                  </a:lnTo>
                  <a:lnTo>
                    <a:pt x="1382" y="2149"/>
                  </a:lnTo>
                  <a:lnTo>
                    <a:pt x="1389" y="2143"/>
                  </a:lnTo>
                  <a:lnTo>
                    <a:pt x="1396" y="2134"/>
                  </a:lnTo>
                  <a:lnTo>
                    <a:pt x="1400" y="2124"/>
                  </a:lnTo>
                  <a:lnTo>
                    <a:pt x="1405" y="2114"/>
                  </a:lnTo>
                  <a:lnTo>
                    <a:pt x="1408" y="2103"/>
                  </a:lnTo>
                  <a:lnTo>
                    <a:pt x="1411" y="2091"/>
                  </a:lnTo>
                  <a:lnTo>
                    <a:pt x="1413" y="2079"/>
                  </a:lnTo>
                  <a:lnTo>
                    <a:pt x="1414" y="2065"/>
                  </a:lnTo>
                  <a:lnTo>
                    <a:pt x="1414" y="2049"/>
                  </a:lnTo>
                  <a:lnTo>
                    <a:pt x="1414" y="1825"/>
                  </a:lnTo>
                  <a:lnTo>
                    <a:pt x="1362" y="1825"/>
                  </a:lnTo>
                  <a:lnTo>
                    <a:pt x="1362" y="1843"/>
                  </a:lnTo>
                  <a:close/>
                  <a:moveTo>
                    <a:pt x="1362" y="1900"/>
                  </a:moveTo>
                  <a:lnTo>
                    <a:pt x="1362" y="1997"/>
                  </a:lnTo>
                  <a:lnTo>
                    <a:pt x="1362" y="1997"/>
                  </a:lnTo>
                  <a:lnTo>
                    <a:pt x="1356" y="2006"/>
                  </a:lnTo>
                  <a:lnTo>
                    <a:pt x="1348" y="2015"/>
                  </a:lnTo>
                  <a:lnTo>
                    <a:pt x="1344" y="2017"/>
                  </a:lnTo>
                  <a:lnTo>
                    <a:pt x="1338" y="2020"/>
                  </a:lnTo>
                  <a:lnTo>
                    <a:pt x="1332" y="2021"/>
                  </a:lnTo>
                  <a:lnTo>
                    <a:pt x="1326" y="2022"/>
                  </a:lnTo>
                  <a:lnTo>
                    <a:pt x="1326" y="2022"/>
                  </a:lnTo>
                  <a:lnTo>
                    <a:pt x="1319" y="2021"/>
                  </a:lnTo>
                  <a:lnTo>
                    <a:pt x="1312" y="2018"/>
                  </a:lnTo>
                  <a:lnTo>
                    <a:pt x="1305" y="2013"/>
                  </a:lnTo>
                  <a:lnTo>
                    <a:pt x="1300" y="2007"/>
                  </a:lnTo>
                  <a:lnTo>
                    <a:pt x="1295" y="1997"/>
                  </a:lnTo>
                  <a:lnTo>
                    <a:pt x="1291" y="1984"/>
                  </a:lnTo>
                  <a:lnTo>
                    <a:pt x="1287" y="1967"/>
                  </a:lnTo>
                  <a:lnTo>
                    <a:pt x="1286" y="1945"/>
                  </a:lnTo>
                  <a:lnTo>
                    <a:pt x="1286" y="1945"/>
                  </a:lnTo>
                  <a:lnTo>
                    <a:pt x="1287" y="1925"/>
                  </a:lnTo>
                  <a:lnTo>
                    <a:pt x="1291" y="1910"/>
                  </a:lnTo>
                  <a:lnTo>
                    <a:pt x="1295" y="1898"/>
                  </a:lnTo>
                  <a:lnTo>
                    <a:pt x="1300" y="1889"/>
                  </a:lnTo>
                  <a:lnTo>
                    <a:pt x="1305" y="1882"/>
                  </a:lnTo>
                  <a:lnTo>
                    <a:pt x="1312" y="1878"/>
                  </a:lnTo>
                  <a:lnTo>
                    <a:pt x="1319" y="1876"/>
                  </a:lnTo>
                  <a:lnTo>
                    <a:pt x="1326" y="1876"/>
                  </a:lnTo>
                  <a:lnTo>
                    <a:pt x="1326" y="1876"/>
                  </a:lnTo>
                  <a:lnTo>
                    <a:pt x="1332" y="1876"/>
                  </a:lnTo>
                  <a:lnTo>
                    <a:pt x="1338" y="1878"/>
                  </a:lnTo>
                  <a:lnTo>
                    <a:pt x="1345" y="1881"/>
                  </a:lnTo>
                  <a:lnTo>
                    <a:pt x="1349" y="1883"/>
                  </a:lnTo>
                  <a:lnTo>
                    <a:pt x="1353" y="1888"/>
                  </a:lnTo>
                  <a:lnTo>
                    <a:pt x="1357" y="1892"/>
                  </a:lnTo>
                  <a:lnTo>
                    <a:pt x="1362" y="1900"/>
                  </a:lnTo>
                  <a:lnTo>
                    <a:pt x="1362" y="1900"/>
                  </a:lnTo>
                  <a:close/>
                  <a:moveTo>
                    <a:pt x="1576" y="1886"/>
                  </a:moveTo>
                  <a:lnTo>
                    <a:pt x="1576" y="1886"/>
                  </a:lnTo>
                  <a:lnTo>
                    <a:pt x="1588" y="1878"/>
                  </a:lnTo>
                  <a:lnTo>
                    <a:pt x="1601" y="1873"/>
                  </a:lnTo>
                  <a:lnTo>
                    <a:pt x="1614" y="1870"/>
                  </a:lnTo>
                  <a:lnTo>
                    <a:pt x="1629" y="1868"/>
                  </a:lnTo>
                  <a:lnTo>
                    <a:pt x="1629" y="1868"/>
                  </a:lnTo>
                  <a:lnTo>
                    <a:pt x="1638" y="1870"/>
                  </a:lnTo>
                  <a:lnTo>
                    <a:pt x="1645" y="1871"/>
                  </a:lnTo>
                  <a:lnTo>
                    <a:pt x="1652" y="1873"/>
                  </a:lnTo>
                  <a:lnTo>
                    <a:pt x="1657" y="1878"/>
                  </a:lnTo>
                  <a:lnTo>
                    <a:pt x="1661" y="1883"/>
                  </a:lnTo>
                  <a:lnTo>
                    <a:pt x="1664" y="1889"/>
                  </a:lnTo>
                  <a:lnTo>
                    <a:pt x="1666" y="1895"/>
                  </a:lnTo>
                  <a:lnTo>
                    <a:pt x="1666" y="1904"/>
                  </a:lnTo>
                  <a:lnTo>
                    <a:pt x="1666" y="1921"/>
                  </a:lnTo>
                  <a:lnTo>
                    <a:pt x="1666" y="1921"/>
                  </a:lnTo>
                  <a:lnTo>
                    <a:pt x="1657" y="1916"/>
                  </a:lnTo>
                  <a:lnTo>
                    <a:pt x="1645" y="1913"/>
                  </a:lnTo>
                  <a:lnTo>
                    <a:pt x="1634" y="1910"/>
                  </a:lnTo>
                  <a:lnTo>
                    <a:pt x="1621" y="1909"/>
                  </a:lnTo>
                  <a:lnTo>
                    <a:pt x="1621" y="1909"/>
                  </a:lnTo>
                  <a:lnTo>
                    <a:pt x="1607" y="1910"/>
                  </a:lnTo>
                  <a:lnTo>
                    <a:pt x="1592" y="1914"/>
                  </a:lnTo>
                  <a:lnTo>
                    <a:pt x="1579" y="1919"/>
                  </a:lnTo>
                  <a:lnTo>
                    <a:pt x="1572" y="1922"/>
                  </a:lnTo>
                  <a:lnTo>
                    <a:pt x="1565" y="1927"/>
                  </a:lnTo>
                  <a:lnTo>
                    <a:pt x="1560" y="1932"/>
                  </a:lnTo>
                  <a:lnTo>
                    <a:pt x="1555" y="1938"/>
                  </a:lnTo>
                  <a:lnTo>
                    <a:pt x="1550" y="1945"/>
                  </a:lnTo>
                  <a:lnTo>
                    <a:pt x="1546" y="1952"/>
                  </a:lnTo>
                  <a:lnTo>
                    <a:pt x="1542" y="1961"/>
                  </a:lnTo>
                  <a:lnTo>
                    <a:pt x="1540" y="1970"/>
                  </a:lnTo>
                  <a:lnTo>
                    <a:pt x="1539" y="1980"/>
                  </a:lnTo>
                  <a:lnTo>
                    <a:pt x="1538" y="1990"/>
                  </a:lnTo>
                  <a:lnTo>
                    <a:pt x="1538" y="1990"/>
                  </a:lnTo>
                  <a:lnTo>
                    <a:pt x="1539" y="2002"/>
                  </a:lnTo>
                  <a:lnTo>
                    <a:pt x="1540" y="2013"/>
                  </a:lnTo>
                  <a:lnTo>
                    <a:pt x="1542" y="2022"/>
                  </a:lnTo>
                  <a:lnTo>
                    <a:pt x="1546" y="2032"/>
                  </a:lnTo>
                  <a:lnTo>
                    <a:pt x="1549" y="2039"/>
                  </a:lnTo>
                  <a:lnTo>
                    <a:pt x="1554" y="2047"/>
                  </a:lnTo>
                  <a:lnTo>
                    <a:pt x="1558" y="2053"/>
                  </a:lnTo>
                  <a:lnTo>
                    <a:pt x="1564" y="2059"/>
                  </a:lnTo>
                  <a:lnTo>
                    <a:pt x="1569" y="2064"/>
                  </a:lnTo>
                  <a:lnTo>
                    <a:pt x="1576" y="2068"/>
                  </a:lnTo>
                  <a:lnTo>
                    <a:pt x="1589" y="2074"/>
                  </a:lnTo>
                  <a:lnTo>
                    <a:pt x="1603" y="2077"/>
                  </a:lnTo>
                  <a:lnTo>
                    <a:pt x="1616" y="2079"/>
                  </a:lnTo>
                  <a:lnTo>
                    <a:pt x="1616" y="2079"/>
                  </a:lnTo>
                  <a:lnTo>
                    <a:pt x="1628" y="2076"/>
                  </a:lnTo>
                  <a:lnTo>
                    <a:pt x="1635" y="2075"/>
                  </a:lnTo>
                  <a:lnTo>
                    <a:pt x="1641" y="2072"/>
                  </a:lnTo>
                  <a:lnTo>
                    <a:pt x="1649" y="2069"/>
                  </a:lnTo>
                  <a:lnTo>
                    <a:pt x="1655" y="2064"/>
                  </a:lnTo>
                  <a:lnTo>
                    <a:pt x="1661" y="2059"/>
                  </a:lnTo>
                  <a:lnTo>
                    <a:pt x="1666" y="2053"/>
                  </a:lnTo>
                  <a:lnTo>
                    <a:pt x="1666" y="2072"/>
                  </a:lnTo>
                  <a:lnTo>
                    <a:pt x="1718" y="2072"/>
                  </a:lnTo>
                  <a:lnTo>
                    <a:pt x="1718" y="1905"/>
                  </a:lnTo>
                  <a:lnTo>
                    <a:pt x="1718" y="1905"/>
                  </a:lnTo>
                  <a:lnTo>
                    <a:pt x="1718" y="1895"/>
                  </a:lnTo>
                  <a:lnTo>
                    <a:pt x="1717" y="1887"/>
                  </a:lnTo>
                  <a:lnTo>
                    <a:pt x="1715" y="1878"/>
                  </a:lnTo>
                  <a:lnTo>
                    <a:pt x="1713" y="1870"/>
                  </a:lnTo>
                  <a:lnTo>
                    <a:pt x="1709" y="1862"/>
                  </a:lnTo>
                  <a:lnTo>
                    <a:pt x="1706" y="1855"/>
                  </a:lnTo>
                  <a:lnTo>
                    <a:pt x="1701" y="1849"/>
                  </a:lnTo>
                  <a:lnTo>
                    <a:pt x="1695" y="1843"/>
                  </a:lnTo>
                  <a:lnTo>
                    <a:pt x="1690" y="1838"/>
                  </a:lnTo>
                  <a:lnTo>
                    <a:pt x="1684" y="1833"/>
                  </a:lnTo>
                  <a:lnTo>
                    <a:pt x="1677" y="1829"/>
                  </a:lnTo>
                  <a:lnTo>
                    <a:pt x="1669" y="1825"/>
                  </a:lnTo>
                  <a:lnTo>
                    <a:pt x="1661" y="1823"/>
                  </a:lnTo>
                  <a:lnTo>
                    <a:pt x="1653" y="1822"/>
                  </a:lnTo>
                  <a:lnTo>
                    <a:pt x="1643" y="1820"/>
                  </a:lnTo>
                  <a:lnTo>
                    <a:pt x="1634" y="1819"/>
                  </a:lnTo>
                  <a:lnTo>
                    <a:pt x="1634" y="1819"/>
                  </a:lnTo>
                  <a:lnTo>
                    <a:pt x="1623" y="1820"/>
                  </a:lnTo>
                  <a:lnTo>
                    <a:pt x="1613" y="1820"/>
                  </a:lnTo>
                  <a:lnTo>
                    <a:pt x="1603" y="1823"/>
                  </a:lnTo>
                  <a:lnTo>
                    <a:pt x="1592" y="1825"/>
                  </a:lnTo>
                  <a:lnTo>
                    <a:pt x="1583" y="1829"/>
                  </a:lnTo>
                  <a:lnTo>
                    <a:pt x="1574" y="1833"/>
                  </a:lnTo>
                  <a:lnTo>
                    <a:pt x="1564" y="1838"/>
                  </a:lnTo>
                  <a:lnTo>
                    <a:pt x="1555" y="1844"/>
                  </a:lnTo>
                  <a:lnTo>
                    <a:pt x="1576" y="1886"/>
                  </a:lnTo>
                  <a:close/>
                  <a:moveTo>
                    <a:pt x="1590" y="1990"/>
                  </a:moveTo>
                  <a:lnTo>
                    <a:pt x="1590" y="1990"/>
                  </a:lnTo>
                  <a:lnTo>
                    <a:pt x="1590" y="1983"/>
                  </a:lnTo>
                  <a:lnTo>
                    <a:pt x="1592" y="1975"/>
                  </a:lnTo>
                  <a:lnTo>
                    <a:pt x="1595" y="1969"/>
                  </a:lnTo>
                  <a:lnTo>
                    <a:pt x="1600" y="1964"/>
                  </a:lnTo>
                  <a:lnTo>
                    <a:pt x="1605" y="1961"/>
                  </a:lnTo>
                  <a:lnTo>
                    <a:pt x="1611" y="1958"/>
                  </a:lnTo>
                  <a:lnTo>
                    <a:pt x="1618" y="1956"/>
                  </a:lnTo>
                  <a:lnTo>
                    <a:pt x="1626" y="1956"/>
                  </a:lnTo>
                  <a:lnTo>
                    <a:pt x="1626" y="1956"/>
                  </a:lnTo>
                  <a:lnTo>
                    <a:pt x="1637" y="1956"/>
                  </a:lnTo>
                  <a:lnTo>
                    <a:pt x="1647" y="1958"/>
                  </a:lnTo>
                  <a:lnTo>
                    <a:pt x="1657" y="1962"/>
                  </a:lnTo>
                  <a:lnTo>
                    <a:pt x="1666" y="1968"/>
                  </a:lnTo>
                  <a:lnTo>
                    <a:pt x="1666" y="2001"/>
                  </a:lnTo>
                  <a:lnTo>
                    <a:pt x="1666" y="2001"/>
                  </a:lnTo>
                  <a:lnTo>
                    <a:pt x="1664" y="2006"/>
                  </a:lnTo>
                  <a:lnTo>
                    <a:pt x="1660" y="2011"/>
                  </a:lnTo>
                  <a:lnTo>
                    <a:pt x="1656" y="2016"/>
                  </a:lnTo>
                  <a:lnTo>
                    <a:pt x="1651" y="2020"/>
                  </a:lnTo>
                  <a:lnTo>
                    <a:pt x="1645" y="2023"/>
                  </a:lnTo>
                  <a:lnTo>
                    <a:pt x="1639" y="2026"/>
                  </a:lnTo>
                  <a:lnTo>
                    <a:pt x="1633" y="2027"/>
                  </a:lnTo>
                  <a:lnTo>
                    <a:pt x="1626" y="2028"/>
                  </a:lnTo>
                  <a:lnTo>
                    <a:pt x="1626" y="2028"/>
                  </a:lnTo>
                  <a:lnTo>
                    <a:pt x="1618" y="2027"/>
                  </a:lnTo>
                  <a:lnTo>
                    <a:pt x="1611" y="2024"/>
                  </a:lnTo>
                  <a:lnTo>
                    <a:pt x="1605" y="2022"/>
                  </a:lnTo>
                  <a:lnTo>
                    <a:pt x="1600" y="2017"/>
                  </a:lnTo>
                  <a:lnTo>
                    <a:pt x="1595" y="2012"/>
                  </a:lnTo>
                  <a:lnTo>
                    <a:pt x="1592" y="2006"/>
                  </a:lnTo>
                  <a:lnTo>
                    <a:pt x="1591" y="1999"/>
                  </a:lnTo>
                  <a:lnTo>
                    <a:pt x="1590" y="1990"/>
                  </a:lnTo>
                  <a:lnTo>
                    <a:pt x="1590" y="1990"/>
                  </a:lnTo>
                  <a:close/>
                  <a:moveTo>
                    <a:pt x="2200" y="2001"/>
                  </a:moveTo>
                  <a:lnTo>
                    <a:pt x="2200" y="2001"/>
                  </a:lnTo>
                  <a:lnTo>
                    <a:pt x="2193" y="2009"/>
                  </a:lnTo>
                  <a:lnTo>
                    <a:pt x="2183" y="2015"/>
                  </a:lnTo>
                  <a:lnTo>
                    <a:pt x="2178" y="2017"/>
                  </a:lnTo>
                  <a:lnTo>
                    <a:pt x="2172" y="2020"/>
                  </a:lnTo>
                  <a:lnTo>
                    <a:pt x="2166" y="2021"/>
                  </a:lnTo>
                  <a:lnTo>
                    <a:pt x="2160" y="2022"/>
                  </a:lnTo>
                  <a:lnTo>
                    <a:pt x="2160" y="2022"/>
                  </a:lnTo>
                  <a:lnTo>
                    <a:pt x="2154" y="2021"/>
                  </a:lnTo>
                  <a:lnTo>
                    <a:pt x="2148" y="2021"/>
                  </a:lnTo>
                  <a:lnTo>
                    <a:pt x="2141" y="2018"/>
                  </a:lnTo>
                  <a:lnTo>
                    <a:pt x="2132" y="2013"/>
                  </a:lnTo>
                  <a:lnTo>
                    <a:pt x="2125" y="2007"/>
                  </a:lnTo>
                  <a:lnTo>
                    <a:pt x="2122" y="2002"/>
                  </a:lnTo>
                  <a:lnTo>
                    <a:pt x="2119" y="1997"/>
                  </a:lnTo>
                  <a:lnTo>
                    <a:pt x="2117" y="1991"/>
                  </a:lnTo>
                  <a:lnTo>
                    <a:pt x="2115" y="1984"/>
                  </a:lnTo>
                  <a:lnTo>
                    <a:pt x="2114" y="1977"/>
                  </a:lnTo>
                  <a:lnTo>
                    <a:pt x="2113" y="1968"/>
                  </a:lnTo>
                  <a:lnTo>
                    <a:pt x="2241" y="1968"/>
                  </a:lnTo>
                  <a:lnTo>
                    <a:pt x="2241" y="1968"/>
                  </a:lnTo>
                  <a:lnTo>
                    <a:pt x="2242" y="1949"/>
                  </a:lnTo>
                  <a:lnTo>
                    <a:pt x="2242" y="1949"/>
                  </a:lnTo>
                  <a:lnTo>
                    <a:pt x="2242" y="1935"/>
                  </a:lnTo>
                  <a:lnTo>
                    <a:pt x="2240" y="1921"/>
                  </a:lnTo>
                  <a:lnTo>
                    <a:pt x="2239" y="1908"/>
                  </a:lnTo>
                  <a:lnTo>
                    <a:pt x="2236" y="1895"/>
                  </a:lnTo>
                  <a:lnTo>
                    <a:pt x="2232" y="1884"/>
                  </a:lnTo>
                  <a:lnTo>
                    <a:pt x="2228" y="1873"/>
                  </a:lnTo>
                  <a:lnTo>
                    <a:pt x="2223" y="1863"/>
                  </a:lnTo>
                  <a:lnTo>
                    <a:pt x="2218" y="1855"/>
                  </a:lnTo>
                  <a:lnTo>
                    <a:pt x="2212" y="1846"/>
                  </a:lnTo>
                  <a:lnTo>
                    <a:pt x="2205" y="1840"/>
                  </a:lnTo>
                  <a:lnTo>
                    <a:pt x="2198" y="1834"/>
                  </a:lnTo>
                  <a:lnTo>
                    <a:pt x="2190" y="1829"/>
                  </a:lnTo>
                  <a:lnTo>
                    <a:pt x="2181" y="1825"/>
                  </a:lnTo>
                  <a:lnTo>
                    <a:pt x="2173" y="1822"/>
                  </a:lnTo>
                  <a:lnTo>
                    <a:pt x="2164" y="1820"/>
                  </a:lnTo>
                  <a:lnTo>
                    <a:pt x="2153" y="1819"/>
                  </a:lnTo>
                  <a:lnTo>
                    <a:pt x="2153" y="1819"/>
                  </a:lnTo>
                  <a:lnTo>
                    <a:pt x="2144" y="1820"/>
                  </a:lnTo>
                  <a:lnTo>
                    <a:pt x="2135" y="1822"/>
                  </a:lnTo>
                  <a:lnTo>
                    <a:pt x="2125" y="1825"/>
                  </a:lnTo>
                  <a:lnTo>
                    <a:pt x="2116" y="1829"/>
                  </a:lnTo>
                  <a:lnTo>
                    <a:pt x="2108" y="1834"/>
                  </a:lnTo>
                  <a:lnTo>
                    <a:pt x="2100" y="1841"/>
                  </a:lnTo>
                  <a:lnTo>
                    <a:pt x="2093" y="1847"/>
                  </a:lnTo>
                  <a:lnTo>
                    <a:pt x="2087" y="1856"/>
                  </a:lnTo>
                  <a:lnTo>
                    <a:pt x="2080" y="1865"/>
                  </a:lnTo>
                  <a:lnTo>
                    <a:pt x="2075" y="1875"/>
                  </a:lnTo>
                  <a:lnTo>
                    <a:pt x="2071" y="1886"/>
                  </a:lnTo>
                  <a:lnTo>
                    <a:pt x="2067" y="1897"/>
                  </a:lnTo>
                  <a:lnTo>
                    <a:pt x="2064" y="1909"/>
                  </a:lnTo>
                  <a:lnTo>
                    <a:pt x="2062" y="1922"/>
                  </a:lnTo>
                  <a:lnTo>
                    <a:pt x="2061" y="1935"/>
                  </a:lnTo>
                  <a:lnTo>
                    <a:pt x="2060" y="1949"/>
                  </a:lnTo>
                  <a:lnTo>
                    <a:pt x="2060" y="1949"/>
                  </a:lnTo>
                  <a:lnTo>
                    <a:pt x="2061" y="1963"/>
                  </a:lnTo>
                  <a:lnTo>
                    <a:pt x="2062" y="1977"/>
                  </a:lnTo>
                  <a:lnTo>
                    <a:pt x="2064" y="1990"/>
                  </a:lnTo>
                  <a:lnTo>
                    <a:pt x="2067" y="2002"/>
                  </a:lnTo>
                  <a:lnTo>
                    <a:pt x="2071" y="2013"/>
                  </a:lnTo>
                  <a:lnTo>
                    <a:pt x="2075" y="2024"/>
                  </a:lnTo>
                  <a:lnTo>
                    <a:pt x="2080" y="2034"/>
                  </a:lnTo>
                  <a:lnTo>
                    <a:pt x="2087" y="2043"/>
                  </a:lnTo>
                  <a:lnTo>
                    <a:pt x="2094" y="2050"/>
                  </a:lnTo>
                  <a:lnTo>
                    <a:pt x="2101" y="2058"/>
                  </a:lnTo>
                  <a:lnTo>
                    <a:pt x="2110" y="2064"/>
                  </a:lnTo>
                  <a:lnTo>
                    <a:pt x="2118" y="2069"/>
                  </a:lnTo>
                  <a:lnTo>
                    <a:pt x="2127" y="2072"/>
                  </a:lnTo>
                  <a:lnTo>
                    <a:pt x="2138" y="2076"/>
                  </a:lnTo>
                  <a:lnTo>
                    <a:pt x="2148" y="2077"/>
                  </a:lnTo>
                  <a:lnTo>
                    <a:pt x="2160" y="2079"/>
                  </a:lnTo>
                  <a:lnTo>
                    <a:pt x="2160" y="2079"/>
                  </a:lnTo>
                  <a:lnTo>
                    <a:pt x="2170" y="2077"/>
                  </a:lnTo>
                  <a:lnTo>
                    <a:pt x="2179" y="2076"/>
                  </a:lnTo>
                  <a:lnTo>
                    <a:pt x="2190" y="2072"/>
                  </a:lnTo>
                  <a:lnTo>
                    <a:pt x="2199" y="2069"/>
                  </a:lnTo>
                  <a:lnTo>
                    <a:pt x="2208" y="2063"/>
                  </a:lnTo>
                  <a:lnTo>
                    <a:pt x="2217" y="2056"/>
                  </a:lnTo>
                  <a:lnTo>
                    <a:pt x="2225" y="2048"/>
                  </a:lnTo>
                  <a:lnTo>
                    <a:pt x="2233" y="2039"/>
                  </a:lnTo>
                  <a:lnTo>
                    <a:pt x="2200" y="2001"/>
                  </a:lnTo>
                  <a:close/>
                  <a:moveTo>
                    <a:pt x="2114" y="1922"/>
                  </a:moveTo>
                  <a:lnTo>
                    <a:pt x="2114" y="1922"/>
                  </a:lnTo>
                  <a:lnTo>
                    <a:pt x="2115" y="1911"/>
                  </a:lnTo>
                  <a:lnTo>
                    <a:pt x="2117" y="1902"/>
                  </a:lnTo>
                  <a:lnTo>
                    <a:pt x="2120" y="1893"/>
                  </a:lnTo>
                  <a:lnTo>
                    <a:pt x="2125" y="1886"/>
                  </a:lnTo>
                  <a:lnTo>
                    <a:pt x="2130" y="1879"/>
                  </a:lnTo>
                  <a:lnTo>
                    <a:pt x="2137" y="1876"/>
                  </a:lnTo>
                  <a:lnTo>
                    <a:pt x="2144" y="1872"/>
                  </a:lnTo>
                  <a:lnTo>
                    <a:pt x="2152" y="1872"/>
                  </a:lnTo>
                  <a:lnTo>
                    <a:pt x="2152" y="1872"/>
                  </a:lnTo>
                  <a:lnTo>
                    <a:pt x="2162" y="1873"/>
                  </a:lnTo>
                  <a:lnTo>
                    <a:pt x="2170" y="1876"/>
                  </a:lnTo>
                  <a:lnTo>
                    <a:pt x="2176" y="1881"/>
                  </a:lnTo>
                  <a:lnTo>
                    <a:pt x="2181" y="1888"/>
                  </a:lnTo>
                  <a:lnTo>
                    <a:pt x="2186" y="1895"/>
                  </a:lnTo>
                  <a:lnTo>
                    <a:pt x="2189" y="1904"/>
                  </a:lnTo>
                  <a:lnTo>
                    <a:pt x="2191" y="1914"/>
                  </a:lnTo>
                  <a:lnTo>
                    <a:pt x="2192" y="1922"/>
                  </a:lnTo>
                  <a:lnTo>
                    <a:pt x="2114" y="1922"/>
                  </a:lnTo>
                  <a:close/>
                  <a:moveTo>
                    <a:pt x="2701" y="2001"/>
                  </a:moveTo>
                  <a:lnTo>
                    <a:pt x="2701" y="2001"/>
                  </a:lnTo>
                  <a:lnTo>
                    <a:pt x="2692" y="2009"/>
                  </a:lnTo>
                  <a:lnTo>
                    <a:pt x="2684" y="2015"/>
                  </a:lnTo>
                  <a:lnTo>
                    <a:pt x="2678" y="2017"/>
                  </a:lnTo>
                  <a:lnTo>
                    <a:pt x="2673" y="2020"/>
                  </a:lnTo>
                  <a:lnTo>
                    <a:pt x="2666" y="2021"/>
                  </a:lnTo>
                  <a:lnTo>
                    <a:pt x="2659" y="2022"/>
                  </a:lnTo>
                  <a:lnTo>
                    <a:pt x="2659" y="2022"/>
                  </a:lnTo>
                  <a:lnTo>
                    <a:pt x="2654" y="2021"/>
                  </a:lnTo>
                  <a:lnTo>
                    <a:pt x="2648" y="2021"/>
                  </a:lnTo>
                  <a:lnTo>
                    <a:pt x="2640" y="2018"/>
                  </a:lnTo>
                  <a:lnTo>
                    <a:pt x="2633" y="2013"/>
                  </a:lnTo>
                  <a:lnTo>
                    <a:pt x="2626" y="2007"/>
                  </a:lnTo>
                  <a:lnTo>
                    <a:pt x="2623" y="2002"/>
                  </a:lnTo>
                  <a:lnTo>
                    <a:pt x="2620" y="1997"/>
                  </a:lnTo>
                  <a:lnTo>
                    <a:pt x="2617" y="1991"/>
                  </a:lnTo>
                  <a:lnTo>
                    <a:pt x="2615" y="1984"/>
                  </a:lnTo>
                  <a:lnTo>
                    <a:pt x="2613" y="1977"/>
                  </a:lnTo>
                  <a:lnTo>
                    <a:pt x="2612" y="1968"/>
                  </a:lnTo>
                  <a:lnTo>
                    <a:pt x="2741" y="1968"/>
                  </a:lnTo>
                  <a:lnTo>
                    <a:pt x="2741" y="1968"/>
                  </a:lnTo>
                  <a:lnTo>
                    <a:pt x="2742" y="1949"/>
                  </a:lnTo>
                  <a:lnTo>
                    <a:pt x="2742" y="1949"/>
                  </a:lnTo>
                  <a:lnTo>
                    <a:pt x="2741" y="1935"/>
                  </a:lnTo>
                  <a:lnTo>
                    <a:pt x="2740" y="1921"/>
                  </a:lnTo>
                  <a:lnTo>
                    <a:pt x="2738" y="1908"/>
                  </a:lnTo>
                  <a:lnTo>
                    <a:pt x="2736" y="1895"/>
                  </a:lnTo>
                  <a:lnTo>
                    <a:pt x="2732" y="1884"/>
                  </a:lnTo>
                  <a:lnTo>
                    <a:pt x="2728" y="1873"/>
                  </a:lnTo>
                  <a:lnTo>
                    <a:pt x="2724" y="1863"/>
                  </a:lnTo>
                  <a:lnTo>
                    <a:pt x="2718" y="1855"/>
                  </a:lnTo>
                  <a:lnTo>
                    <a:pt x="2712" y="1846"/>
                  </a:lnTo>
                  <a:lnTo>
                    <a:pt x="2705" y="1840"/>
                  </a:lnTo>
                  <a:lnTo>
                    <a:pt x="2698" y="1834"/>
                  </a:lnTo>
                  <a:lnTo>
                    <a:pt x="2690" y="1829"/>
                  </a:lnTo>
                  <a:lnTo>
                    <a:pt x="2682" y="1825"/>
                  </a:lnTo>
                  <a:lnTo>
                    <a:pt x="2673" y="1822"/>
                  </a:lnTo>
                  <a:lnTo>
                    <a:pt x="2663" y="1820"/>
                  </a:lnTo>
                  <a:lnTo>
                    <a:pt x="2654" y="1819"/>
                  </a:lnTo>
                  <a:lnTo>
                    <a:pt x="2654" y="1819"/>
                  </a:lnTo>
                  <a:lnTo>
                    <a:pt x="2643" y="1820"/>
                  </a:lnTo>
                  <a:lnTo>
                    <a:pt x="2634" y="1822"/>
                  </a:lnTo>
                  <a:lnTo>
                    <a:pt x="2625" y="1825"/>
                  </a:lnTo>
                  <a:lnTo>
                    <a:pt x="2616" y="1829"/>
                  </a:lnTo>
                  <a:lnTo>
                    <a:pt x="2608" y="1834"/>
                  </a:lnTo>
                  <a:lnTo>
                    <a:pt x="2600" y="1841"/>
                  </a:lnTo>
                  <a:lnTo>
                    <a:pt x="2594" y="1847"/>
                  </a:lnTo>
                  <a:lnTo>
                    <a:pt x="2586" y="1856"/>
                  </a:lnTo>
                  <a:lnTo>
                    <a:pt x="2580" y="1865"/>
                  </a:lnTo>
                  <a:lnTo>
                    <a:pt x="2575" y="1875"/>
                  </a:lnTo>
                  <a:lnTo>
                    <a:pt x="2571" y="1886"/>
                  </a:lnTo>
                  <a:lnTo>
                    <a:pt x="2566" y="1897"/>
                  </a:lnTo>
                  <a:lnTo>
                    <a:pt x="2564" y="1909"/>
                  </a:lnTo>
                  <a:lnTo>
                    <a:pt x="2561" y="1922"/>
                  </a:lnTo>
                  <a:lnTo>
                    <a:pt x="2560" y="1935"/>
                  </a:lnTo>
                  <a:lnTo>
                    <a:pt x="2560" y="1949"/>
                  </a:lnTo>
                  <a:lnTo>
                    <a:pt x="2560" y="1949"/>
                  </a:lnTo>
                  <a:lnTo>
                    <a:pt x="2560" y="1963"/>
                  </a:lnTo>
                  <a:lnTo>
                    <a:pt x="2561" y="1977"/>
                  </a:lnTo>
                  <a:lnTo>
                    <a:pt x="2563" y="1990"/>
                  </a:lnTo>
                  <a:lnTo>
                    <a:pt x="2566" y="2002"/>
                  </a:lnTo>
                  <a:lnTo>
                    <a:pt x="2571" y="2013"/>
                  </a:lnTo>
                  <a:lnTo>
                    <a:pt x="2576" y="2024"/>
                  </a:lnTo>
                  <a:lnTo>
                    <a:pt x="2581" y="2034"/>
                  </a:lnTo>
                  <a:lnTo>
                    <a:pt x="2587" y="2043"/>
                  </a:lnTo>
                  <a:lnTo>
                    <a:pt x="2594" y="2050"/>
                  </a:lnTo>
                  <a:lnTo>
                    <a:pt x="2601" y="2058"/>
                  </a:lnTo>
                  <a:lnTo>
                    <a:pt x="2609" y="2064"/>
                  </a:lnTo>
                  <a:lnTo>
                    <a:pt x="2619" y="2069"/>
                  </a:lnTo>
                  <a:lnTo>
                    <a:pt x="2628" y="2072"/>
                  </a:lnTo>
                  <a:lnTo>
                    <a:pt x="2637" y="2076"/>
                  </a:lnTo>
                  <a:lnTo>
                    <a:pt x="2649" y="2077"/>
                  </a:lnTo>
                  <a:lnTo>
                    <a:pt x="2659" y="2079"/>
                  </a:lnTo>
                  <a:lnTo>
                    <a:pt x="2659" y="2079"/>
                  </a:lnTo>
                  <a:lnTo>
                    <a:pt x="2670" y="2077"/>
                  </a:lnTo>
                  <a:lnTo>
                    <a:pt x="2680" y="2076"/>
                  </a:lnTo>
                  <a:lnTo>
                    <a:pt x="2689" y="2072"/>
                  </a:lnTo>
                  <a:lnTo>
                    <a:pt x="2699" y="2069"/>
                  </a:lnTo>
                  <a:lnTo>
                    <a:pt x="2708" y="2063"/>
                  </a:lnTo>
                  <a:lnTo>
                    <a:pt x="2717" y="2056"/>
                  </a:lnTo>
                  <a:lnTo>
                    <a:pt x="2726" y="2048"/>
                  </a:lnTo>
                  <a:lnTo>
                    <a:pt x="2733" y="2039"/>
                  </a:lnTo>
                  <a:lnTo>
                    <a:pt x="2701" y="2001"/>
                  </a:lnTo>
                  <a:close/>
                  <a:moveTo>
                    <a:pt x="2613" y="1922"/>
                  </a:moveTo>
                  <a:lnTo>
                    <a:pt x="2613" y="1922"/>
                  </a:lnTo>
                  <a:lnTo>
                    <a:pt x="2614" y="1911"/>
                  </a:lnTo>
                  <a:lnTo>
                    <a:pt x="2617" y="1902"/>
                  </a:lnTo>
                  <a:lnTo>
                    <a:pt x="2621" y="1893"/>
                  </a:lnTo>
                  <a:lnTo>
                    <a:pt x="2625" y="1886"/>
                  </a:lnTo>
                  <a:lnTo>
                    <a:pt x="2631" y="1879"/>
                  </a:lnTo>
                  <a:lnTo>
                    <a:pt x="2637" y="1876"/>
                  </a:lnTo>
                  <a:lnTo>
                    <a:pt x="2645" y="1872"/>
                  </a:lnTo>
                  <a:lnTo>
                    <a:pt x="2653" y="1872"/>
                  </a:lnTo>
                  <a:lnTo>
                    <a:pt x="2653" y="1872"/>
                  </a:lnTo>
                  <a:lnTo>
                    <a:pt x="2662" y="1873"/>
                  </a:lnTo>
                  <a:lnTo>
                    <a:pt x="2670" y="1876"/>
                  </a:lnTo>
                  <a:lnTo>
                    <a:pt x="2677" y="1881"/>
                  </a:lnTo>
                  <a:lnTo>
                    <a:pt x="2682" y="1888"/>
                  </a:lnTo>
                  <a:lnTo>
                    <a:pt x="2686" y="1895"/>
                  </a:lnTo>
                  <a:lnTo>
                    <a:pt x="2689" y="1904"/>
                  </a:lnTo>
                  <a:lnTo>
                    <a:pt x="2691" y="1914"/>
                  </a:lnTo>
                  <a:lnTo>
                    <a:pt x="2692" y="1922"/>
                  </a:lnTo>
                  <a:lnTo>
                    <a:pt x="2613" y="1922"/>
                  </a:lnTo>
                  <a:close/>
                  <a:moveTo>
                    <a:pt x="2488" y="1986"/>
                  </a:moveTo>
                  <a:lnTo>
                    <a:pt x="2488" y="1986"/>
                  </a:lnTo>
                  <a:lnTo>
                    <a:pt x="2488" y="1995"/>
                  </a:lnTo>
                  <a:lnTo>
                    <a:pt x="2489" y="2001"/>
                  </a:lnTo>
                  <a:lnTo>
                    <a:pt x="2492" y="2007"/>
                  </a:lnTo>
                  <a:lnTo>
                    <a:pt x="2494" y="2012"/>
                  </a:lnTo>
                  <a:lnTo>
                    <a:pt x="2497" y="2016"/>
                  </a:lnTo>
                  <a:lnTo>
                    <a:pt x="2501" y="2018"/>
                  </a:lnTo>
                  <a:lnTo>
                    <a:pt x="2505" y="2020"/>
                  </a:lnTo>
                  <a:lnTo>
                    <a:pt x="2511" y="2020"/>
                  </a:lnTo>
                  <a:lnTo>
                    <a:pt x="2511" y="2020"/>
                  </a:lnTo>
                  <a:lnTo>
                    <a:pt x="2519" y="2020"/>
                  </a:lnTo>
                  <a:lnTo>
                    <a:pt x="2527" y="2017"/>
                  </a:lnTo>
                  <a:lnTo>
                    <a:pt x="2535" y="2013"/>
                  </a:lnTo>
                  <a:lnTo>
                    <a:pt x="2543" y="2009"/>
                  </a:lnTo>
                  <a:lnTo>
                    <a:pt x="2536" y="2066"/>
                  </a:lnTo>
                  <a:lnTo>
                    <a:pt x="2536" y="2066"/>
                  </a:lnTo>
                  <a:lnTo>
                    <a:pt x="2527" y="2071"/>
                  </a:lnTo>
                  <a:lnTo>
                    <a:pt x="2515" y="2075"/>
                  </a:lnTo>
                  <a:lnTo>
                    <a:pt x="2504" y="2077"/>
                  </a:lnTo>
                  <a:lnTo>
                    <a:pt x="2493" y="2079"/>
                  </a:lnTo>
                  <a:lnTo>
                    <a:pt x="2493" y="2079"/>
                  </a:lnTo>
                  <a:lnTo>
                    <a:pt x="2485" y="2077"/>
                  </a:lnTo>
                  <a:lnTo>
                    <a:pt x="2478" y="2076"/>
                  </a:lnTo>
                  <a:lnTo>
                    <a:pt x="2472" y="2074"/>
                  </a:lnTo>
                  <a:lnTo>
                    <a:pt x="2467" y="2071"/>
                  </a:lnTo>
                  <a:lnTo>
                    <a:pt x="2461" y="2068"/>
                  </a:lnTo>
                  <a:lnTo>
                    <a:pt x="2456" y="2064"/>
                  </a:lnTo>
                  <a:lnTo>
                    <a:pt x="2453" y="2059"/>
                  </a:lnTo>
                  <a:lnTo>
                    <a:pt x="2449" y="2053"/>
                  </a:lnTo>
                  <a:lnTo>
                    <a:pt x="2444" y="2042"/>
                  </a:lnTo>
                  <a:lnTo>
                    <a:pt x="2440" y="2028"/>
                  </a:lnTo>
                  <a:lnTo>
                    <a:pt x="2437" y="2016"/>
                  </a:lnTo>
                  <a:lnTo>
                    <a:pt x="2436" y="2002"/>
                  </a:lnTo>
                  <a:lnTo>
                    <a:pt x="2436" y="1882"/>
                  </a:lnTo>
                  <a:lnTo>
                    <a:pt x="2404" y="1882"/>
                  </a:lnTo>
                  <a:lnTo>
                    <a:pt x="2404" y="1825"/>
                  </a:lnTo>
                  <a:lnTo>
                    <a:pt x="2436" y="1825"/>
                  </a:lnTo>
                  <a:lnTo>
                    <a:pt x="2436" y="1761"/>
                  </a:lnTo>
                  <a:lnTo>
                    <a:pt x="2488" y="1731"/>
                  </a:lnTo>
                  <a:lnTo>
                    <a:pt x="2488" y="1825"/>
                  </a:lnTo>
                  <a:lnTo>
                    <a:pt x="2535" y="1825"/>
                  </a:lnTo>
                  <a:lnTo>
                    <a:pt x="2535" y="1882"/>
                  </a:lnTo>
                  <a:lnTo>
                    <a:pt x="2488" y="1882"/>
                  </a:lnTo>
                  <a:lnTo>
                    <a:pt x="2488" y="1986"/>
                  </a:lnTo>
                  <a:close/>
                  <a:moveTo>
                    <a:pt x="2387" y="2066"/>
                  </a:moveTo>
                  <a:lnTo>
                    <a:pt x="2387" y="2066"/>
                  </a:lnTo>
                  <a:lnTo>
                    <a:pt x="2378" y="2071"/>
                  </a:lnTo>
                  <a:lnTo>
                    <a:pt x="2368" y="2075"/>
                  </a:lnTo>
                  <a:lnTo>
                    <a:pt x="2356" y="2077"/>
                  </a:lnTo>
                  <a:lnTo>
                    <a:pt x="2345" y="2079"/>
                  </a:lnTo>
                  <a:lnTo>
                    <a:pt x="2345" y="2079"/>
                  </a:lnTo>
                  <a:lnTo>
                    <a:pt x="2336" y="2077"/>
                  </a:lnTo>
                  <a:lnTo>
                    <a:pt x="2330" y="2076"/>
                  </a:lnTo>
                  <a:lnTo>
                    <a:pt x="2324" y="2074"/>
                  </a:lnTo>
                  <a:lnTo>
                    <a:pt x="2318" y="2071"/>
                  </a:lnTo>
                  <a:lnTo>
                    <a:pt x="2314" y="2068"/>
                  </a:lnTo>
                  <a:lnTo>
                    <a:pt x="2308" y="2064"/>
                  </a:lnTo>
                  <a:lnTo>
                    <a:pt x="2304" y="2059"/>
                  </a:lnTo>
                  <a:lnTo>
                    <a:pt x="2301" y="2053"/>
                  </a:lnTo>
                  <a:lnTo>
                    <a:pt x="2295" y="2042"/>
                  </a:lnTo>
                  <a:lnTo>
                    <a:pt x="2292" y="2028"/>
                  </a:lnTo>
                  <a:lnTo>
                    <a:pt x="2289" y="2016"/>
                  </a:lnTo>
                  <a:lnTo>
                    <a:pt x="2289" y="2002"/>
                  </a:lnTo>
                  <a:lnTo>
                    <a:pt x="2289" y="1882"/>
                  </a:lnTo>
                  <a:lnTo>
                    <a:pt x="2256" y="1882"/>
                  </a:lnTo>
                  <a:lnTo>
                    <a:pt x="2256" y="1825"/>
                  </a:lnTo>
                  <a:lnTo>
                    <a:pt x="2289" y="1825"/>
                  </a:lnTo>
                  <a:lnTo>
                    <a:pt x="2289" y="1761"/>
                  </a:lnTo>
                  <a:lnTo>
                    <a:pt x="2341" y="1731"/>
                  </a:lnTo>
                  <a:lnTo>
                    <a:pt x="2341" y="1825"/>
                  </a:lnTo>
                  <a:lnTo>
                    <a:pt x="2384" y="1825"/>
                  </a:lnTo>
                  <a:lnTo>
                    <a:pt x="2384" y="1882"/>
                  </a:lnTo>
                  <a:lnTo>
                    <a:pt x="2341" y="1882"/>
                  </a:lnTo>
                  <a:lnTo>
                    <a:pt x="2341" y="1986"/>
                  </a:lnTo>
                  <a:lnTo>
                    <a:pt x="2341" y="1986"/>
                  </a:lnTo>
                  <a:lnTo>
                    <a:pt x="2341" y="1995"/>
                  </a:lnTo>
                  <a:lnTo>
                    <a:pt x="2342" y="2001"/>
                  </a:lnTo>
                  <a:lnTo>
                    <a:pt x="2344" y="2007"/>
                  </a:lnTo>
                  <a:lnTo>
                    <a:pt x="2346" y="2012"/>
                  </a:lnTo>
                  <a:lnTo>
                    <a:pt x="2349" y="2016"/>
                  </a:lnTo>
                  <a:lnTo>
                    <a:pt x="2353" y="2018"/>
                  </a:lnTo>
                  <a:lnTo>
                    <a:pt x="2357" y="2020"/>
                  </a:lnTo>
                  <a:lnTo>
                    <a:pt x="2362" y="2020"/>
                  </a:lnTo>
                  <a:lnTo>
                    <a:pt x="2362" y="2020"/>
                  </a:lnTo>
                  <a:lnTo>
                    <a:pt x="2371" y="2020"/>
                  </a:lnTo>
                  <a:lnTo>
                    <a:pt x="2379" y="2017"/>
                  </a:lnTo>
                  <a:lnTo>
                    <a:pt x="2386" y="2013"/>
                  </a:lnTo>
                  <a:lnTo>
                    <a:pt x="2394" y="2009"/>
                  </a:lnTo>
                  <a:lnTo>
                    <a:pt x="2387" y="2066"/>
                  </a:lnTo>
                  <a:close/>
                  <a:moveTo>
                    <a:pt x="2898" y="1894"/>
                  </a:moveTo>
                  <a:lnTo>
                    <a:pt x="2898" y="1894"/>
                  </a:lnTo>
                  <a:lnTo>
                    <a:pt x="2891" y="1888"/>
                  </a:lnTo>
                  <a:lnTo>
                    <a:pt x="2883" y="1884"/>
                  </a:lnTo>
                  <a:lnTo>
                    <a:pt x="2873" y="1882"/>
                  </a:lnTo>
                  <a:lnTo>
                    <a:pt x="2864" y="1881"/>
                  </a:lnTo>
                  <a:lnTo>
                    <a:pt x="2864" y="1881"/>
                  </a:lnTo>
                  <a:lnTo>
                    <a:pt x="2856" y="1882"/>
                  </a:lnTo>
                  <a:lnTo>
                    <a:pt x="2847" y="1884"/>
                  </a:lnTo>
                  <a:lnTo>
                    <a:pt x="2841" y="1889"/>
                  </a:lnTo>
                  <a:lnTo>
                    <a:pt x="2836" y="1895"/>
                  </a:lnTo>
                  <a:lnTo>
                    <a:pt x="2832" y="1903"/>
                  </a:lnTo>
                  <a:lnTo>
                    <a:pt x="2830" y="1913"/>
                  </a:lnTo>
                  <a:lnTo>
                    <a:pt x="2828" y="1925"/>
                  </a:lnTo>
                  <a:lnTo>
                    <a:pt x="2827" y="1938"/>
                  </a:lnTo>
                  <a:lnTo>
                    <a:pt x="2827" y="2072"/>
                  </a:lnTo>
                  <a:lnTo>
                    <a:pt x="2776" y="2072"/>
                  </a:lnTo>
                  <a:lnTo>
                    <a:pt x="2776" y="1825"/>
                  </a:lnTo>
                  <a:lnTo>
                    <a:pt x="2827" y="1825"/>
                  </a:lnTo>
                  <a:lnTo>
                    <a:pt x="2827" y="1846"/>
                  </a:lnTo>
                  <a:lnTo>
                    <a:pt x="2827" y="1846"/>
                  </a:lnTo>
                  <a:lnTo>
                    <a:pt x="2832" y="1840"/>
                  </a:lnTo>
                  <a:lnTo>
                    <a:pt x="2837" y="1834"/>
                  </a:lnTo>
                  <a:lnTo>
                    <a:pt x="2842" y="1830"/>
                  </a:lnTo>
                  <a:lnTo>
                    <a:pt x="2849" y="1827"/>
                  </a:lnTo>
                  <a:lnTo>
                    <a:pt x="2854" y="1823"/>
                  </a:lnTo>
                  <a:lnTo>
                    <a:pt x="2860" y="1822"/>
                  </a:lnTo>
                  <a:lnTo>
                    <a:pt x="2866" y="1820"/>
                  </a:lnTo>
                  <a:lnTo>
                    <a:pt x="2873" y="1819"/>
                  </a:lnTo>
                  <a:lnTo>
                    <a:pt x="2873" y="1819"/>
                  </a:lnTo>
                  <a:lnTo>
                    <a:pt x="2884" y="1820"/>
                  </a:lnTo>
                  <a:lnTo>
                    <a:pt x="2894" y="1824"/>
                  </a:lnTo>
                  <a:lnTo>
                    <a:pt x="2904" y="1828"/>
                  </a:lnTo>
                  <a:lnTo>
                    <a:pt x="2912" y="1834"/>
                  </a:lnTo>
                  <a:lnTo>
                    <a:pt x="2898" y="1894"/>
                  </a:lnTo>
                  <a:close/>
                  <a:moveTo>
                    <a:pt x="559" y="1766"/>
                  </a:moveTo>
                  <a:lnTo>
                    <a:pt x="559" y="1790"/>
                  </a:lnTo>
                  <a:lnTo>
                    <a:pt x="507" y="1790"/>
                  </a:lnTo>
                  <a:lnTo>
                    <a:pt x="507" y="1728"/>
                  </a:lnTo>
                  <a:lnTo>
                    <a:pt x="559" y="1728"/>
                  </a:lnTo>
                  <a:lnTo>
                    <a:pt x="559" y="1766"/>
                  </a:lnTo>
                  <a:close/>
                  <a:moveTo>
                    <a:pt x="919" y="1825"/>
                  </a:moveTo>
                  <a:lnTo>
                    <a:pt x="971" y="1825"/>
                  </a:lnTo>
                  <a:lnTo>
                    <a:pt x="971" y="1952"/>
                  </a:lnTo>
                  <a:lnTo>
                    <a:pt x="971" y="2072"/>
                  </a:lnTo>
                  <a:lnTo>
                    <a:pt x="919" y="2072"/>
                  </a:lnTo>
                  <a:lnTo>
                    <a:pt x="919" y="1825"/>
                  </a:lnTo>
                  <a:close/>
                  <a:moveTo>
                    <a:pt x="971" y="1759"/>
                  </a:moveTo>
                  <a:lnTo>
                    <a:pt x="971" y="1790"/>
                  </a:lnTo>
                  <a:lnTo>
                    <a:pt x="919" y="1790"/>
                  </a:lnTo>
                  <a:lnTo>
                    <a:pt x="919" y="1728"/>
                  </a:lnTo>
                  <a:lnTo>
                    <a:pt x="971" y="1728"/>
                  </a:lnTo>
                  <a:lnTo>
                    <a:pt x="971" y="1759"/>
                  </a:lnTo>
                  <a:close/>
                  <a:moveTo>
                    <a:pt x="2395" y="2275"/>
                  </a:moveTo>
                  <a:lnTo>
                    <a:pt x="2395" y="2275"/>
                  </a:lnTo>
                  <a:lnTo>
                    <a:pt x="2390" y="2270"/>
                  </a:lnTo>
                  <a:lnTo>
                    <a:pt x="2384" y="2265"/>
                  </a:lnTo>
                  <a:lnTo>
                    <a:pt x="2379" y="2262"/>
                  </a:lnTo>
                  <a:lnTo>
                    <a:pt x="2373" y="2258"/>
                  </a:lnTo>
                  <a:lnTo>
                    <a:pt x="2368" y="2256"/>
                  </a:lnTo>
                  <a:lnTo>
                    <a:pt x="2361" y="2254"/>
                  </a:lnTo>
                  <a:lnTo>
                    <a:pt x="2348" y="2252"/>
                  </a:lnTo>
                  <a:lnTo>
                    <a:pt x="2348" y="2252"/>
                  </a:lnTo>
                  <a:lnTo>
                    <a:pt x="2339" y="2253"/>
                  </a:lnTo>
                  <a:lnTo>
                    <a:pt x="2330" y="2254"/>
                  </a:lnTo>
                  <a:lnTo>
                    <a:pt x="2322" y="2258"/>
                  </a:lnTo>
                  <a:lnTo>
                    <a:pt x="2314" y="2262"/>
                  </a:lnTo>
                  <a:lnTo>
                    <a:pt x="2306" y="2267"/>
                  </a:lnTo>
                  <a:lnTo>
                    <a:pt x="2300" y="2272"/>
                  </a:lnTo>
                  <a:lnTo>
                    <a:pt x="2294" y="2279"/>
                  </a:lnTo>
                  <a:lnTo>
                    <a:pt x="2288" y="2286"/>
                  </a:lnTo>
                  <a:lnTo>
                    <a:pt x="2283" y="2295"/>
                  </a:lnTo>
                  <a:lnTo>
                    <a:pt x="2278" y="2305"/>
                  </a:lnTo>
                  <a:lnTo>
                    <a:pt x="2275" y="2315"/>
                  </a:lnTo>
                  <a:lnTo>
                    <a:pt x="2272" y="2327"/>
                  </a:lnTo>
                  <a:lnTo>
                    <a:pt x="2269" y="2338"/>
                  </a:lnTo>
                  <a:lnTo>
                    <a:pt x="2268" y="2352"/>
                  </a:lnTo>
                  <a:lnTo>
                    <a:pt x="2267" y="2365"/>
                  </a:lnTo>
                  <a:lnTo>
                    <a:pt x="2266" y="2380"/>
                  </a:lnTo>
                  <a:lnTo>
                    <a:pt x="2266" y="2380"/>
                  </a:lnTo>
                  <a:lnTo>
                    <a:pt x="2267" y="2395"/>
                  </a:lnTo>
                  <a:lnTo>
                    <a:pt x="2268" y="2408"/>
                  </a:lnTo>
                  <a:lnTo>
                    <a:pt x="2269" y="2422"/>
                  </a:lnTo>
                  <a:lnTo>
                    <a:pt x="2272" y="2435"/>
                  </a:lnTo>
                  <a:lnTo>
                    <a:pt x="2274" y="2446"/>
                  </a:lnTo>
                  <a:lnTo>
                    <a:pt x="2278" y="2457"/>
                  </a:lnTo>
                  <a:lnTo>
                    <a:pt x="2282" y="2467"/>
                  </a:lnTo>
                  <a:lnTo>
                    <a:pt x="2288" y="2476"/>
                  </a:lnTo>
                  <a:lnTo>
                    <a:pt x="2293" y="2484"/>
                  </a:lnTo>
                  <a:lnTo>
                    <a:pt x="2299" y="2490"/>
                  </a:lnTo>
                  <a:lnTo>
                    <a:pt x="2305" y="2497"/>
                  </a:lnTo>
                  <a:lnTo>
                    <a:pt x="2313" y="2502"/>
                  </a:lnTo>
                  <a:lnTo>
                    <a:pt x="2321" y="2506"/>
                  </a:lnTo>
                  <a:lnTo>
                    <a:pt x="2329" y="2509"/>
                  </a:lnTo>
                  <a:lnTo>
                    <a:pt x="2338" y="2510"/>
                  </a:lnTo>
                  <a:lnTo>
                    <a:pt x="2347" y="2511"/>
                  </a:lnTo>
                  <a:lnTo>
                    <a:pt x="2347" y="2511"/>
                  </a:lnTo>
                  <a:lnTo>
                    <a:pt x="2353" y="2510"/>
                  </a:lnTo>
                  <a:lnTo>
                    <a:pt x="2360" y="2509"/>
                  </a:lnTo>
                  <a:lnTo>
                    <a:pt x="2367" y="2508"/>
                  </a:lnTo>
                  <a:lnTo>
                    <a:pt x="2372" y="2505"/>
                  </a:lnTo>
                  <a:lnTo>
                    <a:pt x="2378" y="2502"/>
                  </a:lnTo>
                  <a:lnTo>
                    <a:pt x="2384" y="2498"/>
                  </a:lnTo>
                  <a:lnTo>
                    <a:pt x="2390" y="2493"/>
                  </a:lnTo>
                  <a:lnTo>
                    <a:pt x="2395" y="2487"/>
                  </a:lnTo>
                  <a:lnTo>
                    <a:pt x="2395" y="2505"/>
                  </a:lnTo>
                  <a:lnTo>
                    <a:pt x="2447" y="2505"/>
                  </a:lnTo>
                  <a:lnTo>
                    <a:pt x="2447" y="2155"/>
                  </a:lnTo>
                  <a:lnTo>
                    <a:pt x="2395" y="2186"/>
                  </a:lnTo>
                  <a:lnTo>
                    <a:pt x="2395" y="2275"/>
                  </a:lnTo>
                  <a:close/>
                  <a:moveTo>
                    <a:pt x="2358" y="2455"/>
                  </a:moveTo>
                  <a:lnTo>
                    <a:pt x="2358" y="2455"/>
                  </a:lnTo>
                  <a:lnTo>
                    <a:pt x="2351" y="2454"/>
                  </a:lnTo>
                  <a:lnTo>
                    <a:pt x="2345" y="2451"/>
                  </a:lnTo>
                  <a:lnTo>
                    <a:pt x="2338" y="2447"/>
                  </a:lnTo>
                  <a:lnTo>
                    <a:pt x="2331" y="2440"/>
                  </a:lnTo>
                  <a:lnTo>
                    <a:pt x="2326" y="2430"/>
                  </a:lnTo>
                  <a:lnTo>
                    <a:pt x="2322" y="2417"/>
                  </a:lnTo>
                  <a:lnTo>
                    <a:pt x="2320" y="2399"/>
                  </a:lnTo>
                  <a:lnTo>
                    <a:pt x="2319" y="2377"/>
                  </a:lnTo>
                  <a:lnTo>
                    <a:pt x="2319" y="2377"/>
                  </a:lnTo>
                  <a:lnTo>
                    <a:pt x="2320" y="2359"/>
                  </a:lnTo>
                  <a:lnTo>
                    <a:pt x="2322" y="2343"/>
                  </a:lnTo>
                  <a:lnTo>
                    <a:pt x="2326" y="2331"/>
                  </a:lnTo>
                  <a:lnTo>
                    <a:pt x="2331" y="2322"/>
                  </a:lnTo>
                  <a:lnTo>
                    <a:pt x="2338" y="2316"/>
                  </a:lnTo>
                  <a:lnTo>
                    <a:pt x="2344" y="2311"/>
                  </a:lnTo>
                  <a:lnTo>
                    <a:pt x="2351" y="2310"/>
                  </a:lnTo>
                  <a:lnTo>
                    <a:pt x="2357" y="2308"/>
                  </a:lnTo>
                  <a:lnTo>
                    <a:pt x="2357" y="2308"/>
                  </a:lnTo>
                  <a:lnTo>
                    <a:pt x="2365" y="2310"/>
                  </a:lnTo>
                  <a:lnTo>
                    <a:pt x="2371" y="2311"/>
                  </a:lnTo>
                  <a:lnTo>
                    <a:pt x="2376" y="2313"/>
                  </a:lnTo>
                  <a:lnTo>
                    <a:pt x="2381" y="2317"/>
                  </a:lnTo>
                  <a:lnTo>
                    <a:pt x="2385" y="2321"/>
                  </a:lnTo>
                  <a:lnTo>
                    <a:pt x="2390" y="2324"/>
                  </a:lnTo>
                  <a:lnTo>
                    <a:pt x="2395" y="2333"/>
                  </a:lnTo>
                  <a:lnTo>
                    <a:pt x="2395" y="2430"/>
                  </a:lnTo>
                  <a:lnTo>
                    <a:pt x="2395" y="2430"/>
                  </a:lnTo>
                  <a:lnTo>
                    <a:pt x="2389" y="2439"/>
                  </a:lnTo>
                  <a:lnTo>
                    <a:pt x="2381" y="2446"/>
                  </a:lnTo>
                  <a:lnTo>
                    <a:pt x="2376" y="2450"/>
                  </a:lnTo>
                  <a:lnTo>
                    <a:pt x="2371" y="2452"/>
                  </a:lnTo>
                  <a:lnTo>
                    <a:pt x="2365" y="2454"/>
                  </a:lnTo>
                  <a:lnTo>
                    <a:pt x="2358" y="2455"/>
                  </a:lnTo>
                  <a:lnTo>
                    <a:pt x="2358" y="2455"/>
                  </a:lnTo>
                  <a:close/>
                  <a:moveTo>
                    <a:pt x="634" y="2327"/>
                  </a:moveTo>
                  <a:lnTo>
                    <a:pt x="634" y="2327"/>
                  </a:lnTo>
                  <a:lnTo>
                    <a:pt x="627" y="2322"/>
                  </a:lnTo>
                  <a:lnTo>
                    <a:pt x="618" y="2317"/>
                  </a:lnTo>
                  <a:lnTo>
                    <a:pt x="609" y="2315"/>
                  </a:lnTo>
                  <a:lnTo>
                    <a:pt x="599" y="2313"/>
                  </a:lnTo>
                  <a:lnTo>
                    <a:pt x="599" y="2313"/>
                  </a:lnTo>
                  <a:lnTo>
                    <a:pt x="591" y="2315"/>
                  </a:lnTo>
                  <a:lnTo>
                    <a:pt x="583" y="2317"/>
                  </a:lnTo>
                  <a:lnTo>
                    <a:pt x="577" y="2322"/>
                  </a:lnTo>
                  <a:lnTo>
                    <a:pt x="571" y="2328"/>
                  </a:lnTo>
                  <a:lnTo>
                    <a:pt x="567" y="2336"/>
                  </a:lnTo>
                  <a:lnTo>
                    <a:pt x="565" y="2345"/>
                  </a:lnTo>
                  <a:lnTo>
                    <a:pt x="563" y="2358"/>
                  </a:lnTo>
                  <a:lnTo>
                    <a:pt x="562" y="2371"/>
                  </a:lnTo>
                  <a:lnTo>
                    <a:pt x="562" y="2505"/>
                  </a:lnTo>
                  <a:lnTo>
                    <a:pt x="511" y="2505"/>
                  </a:lnTo>
                  <a:lnTo>
                    <a:pt x="511" y="2258"/>
                  </a:lnTo>
                  <a:lnTo>
                    <a:pt x="562" y="2258"/>
                  </a:lnTo>
                  <a:lnTo>
                    <a:pt x="562" y="2279"/>
                  </a:lnTo>
                  <a:lnTo>
                    <a:pt x="562" y="2279"/>
                  </a:lnTo>
                  <a:lnTo>
                    <a:pt x="567" y="2273"/>
                  </a:lnTo>
                  <a:lnTo>
                    <a:pt x="572" y="2267"/>
                  </a:lnTo>
                  <a:lnTo>
                    <a:pt x="578" y="2263"/>
                  </a:lnTo>
                  <a:lnTo>
                    <a:pt x="584" y="2259"/>
                  </a:lnTo>
                  <a:lnTo>
                    <a:pt x="589" y="2256"/>
                  </a:lnTo>
                  <a:lnTo>
                    <a:pt x="595" y="2254"/>
                  </a:lnTo>
                  <a:lnTo>
                    <a:pt x="603" y="2253"/>
                  </a:lnTo>
                  <a:lnTo>
                    <a:pt x="609" y="2252"/>
                  </a:lnTo>
                  <a:lnTo>
                    <a:pt x="609" y="2252"/>
                  </a:lnTo>
                  <a:lnTo>
                    <a:pt x="619" y="2253"/>
                  </a:lnTo>
                  <a:lnTo>
                    <a:pt x="630" y="2257"/>
                  </a:lnTo>
                  <a:lnTo>
                    <a:pt x="640" y="2262"/>
                  </a:lnTo>
                  <a:lnTo>
                    <a:pt x="648" y="2268"/>
                  </a:lnTo>
                  <a:lnTo>
                    <a:pt x="634" y="2327"/>
                  </a:lnTo>
                  <a:close/>
                  <a:moveTo>
                    <a:pt x="227" y="2258"/>
                  </a:moveTo>
                  <a:lnTo>
                    <a:pt x="278" y="2258"/>
                  </a:lnTo>
                  <a:lnTo>
                    <a:pt x="219" y="2505"/>
                  </a:lnTo>
                  <a:lnTo>
                    <a:pt x="174" y="2505"/>
                  </a:lnTo>
                  <a:lnTo>
                    <a:pt x="151" y="2403"/>
                  </a:lnTo>
                  <a:lnTo>
                    <a:pt x="151" y="2403"/>
                  </a:lnTo>
                  <a:lnTo>
                    <a:pt x="139" y="2349"/>
                  </a:lnTo>
                  <a:lnTo>
                    <a:pt x="139" y="2349"/>
                  </a:lnTo>
                  <a:lnTo>
                    <a:pt x="134" y="2375"/>
                  </a:lnTo>
                  <a:lnTo>
                    <a:pt x="128" y="2404"/>
                  </a:lnTo>
                  <a:lnTo>
                    <a:pt x="104" y="2505"/>
                  </a:lnTo>
                  <a:lnTo>
                    <a:pt x="59" y="2505"/>
                  </a:lnTo>
                  <a:lnTo>
                    <a:pt x="59" y="2504"/>
                  </a:lnTo>
                  <a:lnTo>
                    <a:pt x="0" y="2258"/>
                  </a:lnTo>
                  <a:lnTo>
                    <a:pt x="54" y="2258"/>
                  </a:lnTo>
                  <a:lnTo>
                    <a:pt x="73" y="2350"/>
                  </a:lnTo>
                  <a:lnTo>
                    <a:pt x="73" y="2350"/>
                  </a:lnTo>
                  <a:lnTo>
                    <a:pt x="78" y="2380"/>
                  </a:lnTo>
                  <a:lnTo>
                    <a:pt x="83" y="2411"/>
                  </a:lnTo>
                  <a:lnTo>
                    <a:pt x="83" y="2411"/>
                  </a:lnTo>
                  <a:lnTo>
                    <a:pt x="90" y="2380"/>
                  </a:lnTo>
                  <a:lnTo>
                    <a:pt x="96" y="2349"/>
                  </a:lnTo>
                  <a:lnTo>
                    <a:pt x="118" y="2258"/>
                  </a:lnTo>
                  <a:lnTo>
                    <a:pt x="162" y="2258"/>
                  </a:lnTo>
                  <a:lnTo>
                    <a:pt x="184" y="2349"/>
                  </a:lnTo>
                  <a:lnTo>
                    <a:pt x="184" y="2349"/>
                  </a:lnTo>
                  <a:lnTo>
                    <a:pt x="190" y="2379"/>
                  </a:lnTo>
                  <a:lnTo>
                    <a:pt x="197" y="2412"/>
                  </a:lnTo>
                  <a:lnTo>
                    <a:pt x="197" y="2412"/>
                  </a:lnTo>
                  <a:lnTo>
                    <a:pt x="201" y="2383"/>
                  </a:lnTo>
                  <a:lnTo>
                    <a:pt x="207" y="2349"/>
                  </a:lnTo>
                  <a:lnTo>
                    <a:pt x="227" y="2258"/>
                  </a:lnTo>
                  <a:close/>
                  <a:moveTo>
                    <a:pt x="383" y="2252"/>
                  </a:moveTo>
                  <a:lnTo>
                    <a:pt x="383" y="2252"/>
                  </a:lnTo>
                  <a:lnTo>
                    <a:pt x="374" y="2253"/>
                  </a:lnTo>
                  <a:lnTo>
                    <a:pt x="363" y="2254"/>
                  </a:lnTo>
                  <a:lnTo>
                    <a:pt x="354" y="2258"/>
                  </a:lnTo>
                  <a:lnTo>
                    <a:pt x="346" y="2262"/>
                  </a:lnTo>
                  <a:lnTo>
                    <a:pt x="337" y="2267"/>
                  </a:lnTo>
                  <a:lnTo>
                    <a:pt x="329" y="2273"/>
                  </a:lnTo>
                  <a:lnTo>
                    <a:pt x="322" y="2280"/>
                  </a:lnTo>
                  <a:lnTo>
                    <a:pt x="315" y="2289"/>
                  </a:lnTo>
                  <a:lnTo>
                    <a:pt x="309" y="2297"/>
                  </a:lnTo>
                  <a:lnTo>
                    <a:pt x="304" y="2307"/>
                  </a:lnTo>
                  <a:lnTo>
                    <a:pt x="299" y="2318"/>
                  </a:lnTo>
                  <a:lnTo>
                    <a:pt x="296" y="2329"/>
                  </a:lnTo>
                  <a:lnTo>
                    <a:pt x="292" y="2342"/>
                  </a:lnTo>
                  <a:lnTo>
                    <a:pt x="290" y="2354"/>
                  </a:lnTo>
                  <a:lnTo>
                    <a:pt x="288" y="2367"/>
                  </a:lnTo>
                  <a:lnTo>
                    <a:pt x="288" y="2382"/>
                  </a:lnTo>
                  <a:lnTo>
                    <a:pt x="288" y="2382"/>
                  </a:lnTo>
                  <a:lnTo>
                    <a:pt x="288" y="2396"/>
                  </a:lnTo>
                  <a:lnTo>
                    <a:pt x="290" y="2409"/>
                  </a:lnTo>
                  <a:lnTo>
                    <a:pt x="292" y="2422"/>
                  </a:lnTo>
                  <a:lnTo>
                    <a:pt x="296" y="2434"/>
                  </a:lnTo>
                  <a:lnTo>
                    <a:pt x="299" y="2445"/>
                  </a:lnTo>
                  <a:lnTo>
                    <a:pt x="304" y="2456"/>
                  </a:lnTo>
                  <a:lnTo>
                    <a:pt x="309" y="2466"/>
                  </a:lnTo>
                  <a:lnTo>
                    <a:pt x="315" y="2474"/>
                  </a:lnTo>
                  <a:lnTo>
                    <a:pt x="322" y="2483"/>
                  </a:lnTo>
                  <a:lnTo>
                    <a:pt x="329" y="2490"/>
                  </a:lnTo>
                  <a:lnTo>
                    <a:pt x="337" y="2497"/>
                  </a:lnTo>
                  <a:lnTo>
                    <a:pt x="346" y="2502"/>
                  </a:lnTo>
                  <a:lnTo>
                    <a:pt x="354" y="2505"/>
                  </a:lnTo>
                  <a:lnTo>
                    <a:pt x="363" y="2509"/>
                  </a:lnTo>
                  <a:lnTo>
                    <a:pt x="374" y="2510"/>
                  </a:lnTo>
                  <a:lnTo>
                    <a:pt x="383" y="2511"/>
                  </a:lnTo>
                  <a:lnTo>
                    <a:pt x="383" y="2511"/>
                  </a:lnTo>
                  <a:lnTo>
                    <a:pt x="393" y="2510"/>
                  </a:lnTo>
                  <a:lnTo>
                    <a:pt x="404" y="2509"/>
                  </a:lnTo>
                  <a:lnTo>
                    <a:pt x="413" y="2505"/>
                  </a:lnTo>
                  <a:lnTo>
                    <a:pt x="422" y="2502"/>
                  </a:lnTo>
                  <a:lnTo>
                    <a:pt x="430" y="2497"/>
                  </a:lnTo>
                  <a:lnTo>
                    <a:pt x="438" y="2490"/>
                  </a:lnTo>
                  <a:lnTo>
                    <a:pt x="445" y="2483"/>
                  </a:lnTo>
                  <a:lnTo>
                    <a:pt x="452" y="2474"/>
                  </a:lnTo>
                  <a:lnTo>
                    <a:pt x="458" y="2466"/>
                  </a:lnTo>
                  <a:lnTo>
                    <a:pt x="463" y="2456"/>
                  </a:lnTo>
                  <a:lnTo>
                    <a:pt x="467" y="2445"/>
                  </a:lnTo>
                  <a:lnTo>
                    <a:pt x="471" y="2434"/>
                  </a:lnTo>
                  <a:lnTo>
                    <a:pt x="475" y="2422"/>
                  </a:lnTo>
                  <a:lnTo>
                    <a:pt x="477" y="2409"/>
                  </a:lnTo>
                  <a:lnTo>
                    <a:pt x="479" y="2396"/>
                  </a:lnTo>
                  <a:lnTo>
                    <a:pt x="479" y="2382"/>
                  </a:lnTo>
                  <a:lnTo>
                    <a:pt x="479" y="2382"/>
                  </a:lnTo>
                  <a:lnTo>
                    <a:pt x="479" y="2367"/>
                  </a:lnTo>
                  <a:lnTo>
                    <a:pt x="477" y="2354"/>
                  </a:lnTo>
                  <a:lnTo>
                    <a:pt x="475" y="2342"/>
                  </a:lnTo>
                  <a:lnTo>
                    <a:pt x="471" y="2329"/>
                  </a:lnTo>
                  <a:lnTo>
                    <a:pt x="467" y="2318"/>
                  </a:lnTo>
                  <a:lnTo>
                    <a:pt x="463" y="2307"/>
                  </a:lnTo>
                  <a:lnTo>
                    <a:pt x="458" y="2297"/>
                  </a:lnTo>
                  <a:lnTo>
                    <a:pt x="452" y="2289"/>
                  </a:lnTo>
                  <a:lnTo>
                    <a:pt x="445" y="2280"/>
                  </a:lnTo>
                  <a:lnTo>
                    <a:pt x="438" y="2273"/>
                  </a:lnTo>
                  <a:lnTo>
                    <a:pt x="430" y="2267"/>
                  </a:lnTo>
                  <a:lnTo>
                    <a:pt x="422" y="2262"/>
                  </a:lnTo>
                  <a:lnTo>
                    <a:pt x="413" y="2258"/>
                  </a:lnTo>
                  <a:lnTo>
                    <a:pt x="404" y="2254"/>
                  </a:lnTo>
                  <a:lnTo>
                    <a:pt x="393" y="2253"/>
                  </a:lnTo>
                  <a:lnTo>
                    <a:pt x="383" y="2252"/>
                  </a:lnTo>
                  <a:lnTo>
                    <a:pt x="383" y="2252"/>
                  </a:lnTo>
                  <a:close/>
                  <a:moveTo>
                    <a:pt x="383" y="2454"/>
                  </a:moveTo>
                  <a:lnTo>
                    <a:pt x="383" y="2454"/>
                  </a:lnTo>
                  <a:lnTo>
                    <a:pt x="374" y="2452"/>
                  </a:lnTo>
                  <a:lnTo>
                    <a:pt x="365" y="2449"/>
                  </a:lnTo>
                  <a:lnTo>
                    <a:pt x="359" y="2442"/>
                  </a:lnTo>
                  <a:lnTo>
                    <a:pt x="353" y="2434"/>
                  </a:lnTo>
                  <a:lnTo>
                    <a:pt x="348" y="2424"/>
                  </a:lnTo>
                  <a:lnTo>
                    <a:pt x="343" y="2412"/>
                  </a:lnTo>
                  <a:lnTo>
                    <a:pt x="341" y="2397"/>
                  </a:lnTo>
                  <a:lnTo>
                    <a:pt x="341" y="2382"/>
                  </a:lnTo>
                  <a:lnTo>
                    <a:pt x="341" y="2382"/>
                  </a:lnTo>
                  <a:lnTo>
                    <a:pt x="341" y="2366"/>
                  </a:lnTo>
                  <a:lnTo>
                    <a:pt x="343" y="2352"/>
                  </a:lnTo>
                  <a:lnTo>
                    <a:pt x="348" y="2340"/>
                  </a:lnTo>
                  <a:lnTo>
                    <a:pt x="353" y="2329"/>
                  </a:lnTo>
                  <a:lnTo>
                    <a:pt x="359" y="2321"/>
                  </a:lnTo>
                  <a:lnTo>
                    <a:pt x="365" y="2315"/>
                  </a:lnTo>
                  <a:lnTo>
                    <a:pt x="374" y="2311"/>
                  </a:lnTo>
                  <a:lnTo>
                    <a:pt x="383" y="2310"/>
                  </a:lnTo>
                  <a:lnTo>
                    <a:pt x="383" y="2310"/>
                  </a:lnTo>
                  <a:lnTo>
                    <a:pt x="392" y="2311"/>
                  </a:lnTo>
                  <a:lnTo>
                    <a:pt x="401" y="2315"/>
                  </a:lnTo>
                  <a:lnTo>
                    <a:pt x="408" y="2321"/>
                  </a:lnTo>
                  <a:lnTo>
                    <a:pt x="414" y="2329"/>
                  </a:lnTo>
                  <a:lnTo>
                    <a:pt x="419" y="2340"/>
                  </a:lnTo>
                  <a:lnTo>
                    <a:pt x="423" y="2352"/>
                  </a:lnTo>
                  <a:lnTo>
                    <a:pt x="425" y="2366"/>
                  </a:lnTo>
                  <a:lnTo>
                    <a:pt x="426" y="2382"/>
                  </a:lnTo>
                  <a:lnTo>
                    <a:pt x="426" y="2382"/>
                  </a:lnTo>
                  <a:lnTo>
                    <a:pt x="425" y="2397"/>
                  </a:lnTo>
                  <a:lnTo>
                    <a:pt x="423" y="2412"/>
                  </a:lnTo>
                  <a:lnTo>
                    <a:pt x="419" y="2424"/>
                  </a:lnTo>
                  <a:lnTo>
                    <a:pt x="414" y="2434"/>
                  </a:lnTo>
                  <a:lnTo>
                    <a:pt x="408" y="2442"/>
                  </a:lnTo>
                  <a:lnTo>
                    <a:pt x="401" y="2449"/>
                  </a:lnTo>
                  <a:lnTo>
                    <a:pt x="392" y="2452"/>
                  </a:lnTo>
                  <a:lnTo>
                    <a:pt x="383" y="2454"/>
                  </a:lnTo>
                  <a:lnTo>
                    <a:pt x="383" y="2454"/>
                  </a:lnTo>
                  <a:close/>
                  <a:moveTo>
                    <a:pt x="2140" y="2327"/>
                  </a:moveTo>
                  <a:lnTo>
                    <a:pt x="2140" y="2327"/>
                  </a:lnTo>
                  <a:lnTo>
                    <a:pt x="2131" y="2322"/>
                  </a:lnTo>
                  <a:lnTo>
                    <a:pt x="2123" y="2317"/>
                  </a:lnTo>
                  <a:lnTo>
                    <a:pt x="2114" y="2315"/>
                  </a:lnTo>
                  <a:lnTo>
                    <a:pt x="2105" y="2313"/>
                  </a:lnTo>
                  <a:lnTo>
                    <a:pt x="2105" y="2313"/>
                  </a:lnTo>
                  <a:lnTo>
                    <a:pt x="2096" y="2315"/>
                  </a:lnTo>
                  <a:lnTo>
                    <a:pt x="2089" y="2317"/>
                  </a:lnTo>
                  <a:lnTo>
                    <a:pt x="2083" y="2322"/>
                  </a:lnTo>
                  <a:lnTo>
                    <a:pt x="2077" y="2328"/>
                  </a:lnTo>
                  <a:lnTo>
                    <a:pt x="2073" y="2336"/>
                  </a:lnTo>
                  <a:lnTo>
                    <a:pt x="2070" y="2345"/>
                  </a:lnTo>
                  <a:lnTo>
                    <a:pt x="2068" y="2358"/>
                  </a:lnTo>
                  <a:lnTo>
                    <a:pt x="2068" y="2371"/>
                  </a:lnTo>
                  <a:lnTo>
                    <a:pt x="2068" y="2505"/>
                  </a:lnTo>
                  <a:lnTo>
                    <a:pt x="2016" y="2505"/>
                  </a:lnTo>
                  <a:lnTo>
                    <a:pt x="2016" y="2258"/>
                  </a:lnTo>
                  <a:lnTo>
                    <a:pt x="2068" y="2258"/>
                  </a:lnTo>
                  <a:lnTo>
                    <a:pt x="2068" y="2279"/>
                  </a:lnTo>
                  <a:lnTo>
                    <a:pt x="2068" y="2279"/>
                  </a:lnTo>
                  <a:lnTo>
                    <a:pt x="2072" y="2273"/>
                  </a:lnTo>
                  <a:lnTo>
                    <a:pt x="2077" y="2267"/>
                  </a:lnTo>
                  <a:lnTo>
                    <a:pt x="2083" y="2263"/>
                  </a:lnTo>
                  <a:lnTo>
                    <a:pt x="2089" y="2259"/>
                  </a:lnTo>
                  <a:lnTo>
                    <a:pt x="2095" y="2256"/>
                  </a:lnTo>
                  <a:lnTo>
                    <a:pt x="2101" y="2254"/>
                  </a:lnTo>
                  <a:lnTo>
                    <a:pt x="2108" y="2253"/>
                  </a:lnTo>
                  <a:lnTo>
                    <a:pt x="2114" y="2252"/>
                  </a:lnTo>
                  <a:lnTo>
                    <a:pt x="2114" y="2252"/>
                  </a:lnTo>
                  <a:lnTo>
                    <a:pt x="2124" y="2253"/>
                  </a:lnTo>
                  <a:lnTo>
                    <a:pt x="2135" y="2257"/>
                  </a:lnTo>
                  <a:lnTo>
                    <a:pt x="2145" y="2262"/>
                  </a:lnTo>
                  <a:lnTo>
                    <a:pt x="2153" y="2268"/>
                  </a:lnTo>
                  <a:lnTo>
                    <a:pt x="2140" y="2327"/>
                  </a:lnTo>
                  <a:close/>
                  <a:moveTo>
                    <a:pt x="1732" y="2258"/>
                  </a:moveTo>
                  <a:lnTo>
                    <a:pt x="1783" y="2258"/>
                  </a:lnTo>
                  <a:lnTo>
                    <a:pt x="1723" y="2505"/>
                  </a:lnTo>
                  <a:lnTo>
                    <a:pt x="1679" y="2505"/>
                  </a:lnTo>
                  <a:lnTo>
                    <a:pt x="1656" y="2403"/>
                  </a:lnTo>
                  <a:lnTo>
                    <a:pt x="1656" y="2403"/>
                  </a:lnTo>
                  <a:lnTo>
                    <a:pt x="1644" y="2349"/>
                  </a:lnTo>
                  <a:lnTo>
                    <a:pt x="1644" y="2349"/>
                  </a:lnTo>
                  <a:lnTo>
                    <a:pt x="1639" y="2375"/>
                  </a:lnTo>
                  <a:lnTo>
                    <a:pt x="1633" y="2404"/>
                  </a:lnTo>
                  <a:lnTo>
                    <a:pt x="1610" y="2505"/>
                  </a:lnTo>
                  <a:lnTo>
                    <a:pt x="1565" y="2505"/>
                  </a:lnTo>
                  <a:lnTo>
                    <a:pt x="1564" y="2504"/>
                  </a:lnTo>
                  <a:lnTo>
                    <a:pt x="1506" y="2258"/>
                  </a:lnTo>
                  <a:lnTo>
                    <a:pt x="1559" y="2258"/>
                  </a:lnTo>
                  <a:lnTo>
                    <a:pt x="1579" y="2350"/>
                  </a:lnTo>
                  <a:lnTo>
                    <a:pt x="1579" y="2350"/>
                  </a:lnTo>
                  <a:lnTo>
                    <a:pt x="1584" y="2380"/>
                  </a:lnTo>
                  <a:lnTo>
                    <a:pt x="1589" y="2411"/>
                  </a:lnTo>
                  <a:lnTo>
                    <a:pt x="1589" y="2411"/>
                  </a:lnTo>
                  <a:lnTo>
                    <a:pt x="1594" y="2380"/>
                  </a:lnTo>
                  <a:lnTo>
                    <a:pt x="1602" y="2349"/>
                  </a:lnTo>
                  <a:lnTo>
                    <a:pt x="1624" y="2258"/>
                  </a:lnTo>
                  <a:lnTo>
                    <a:pt x="1667" y="2258"/>
                  </a:lnTo>
                  <a:lnTo>
                    <a:pt x="1689" y="2349"/>
                  </a:lnTo>
                  <a:lnTo>
                    <a:pt x="1689" y="2349"/>
                  </a:lnTo>
                  <a:lnTo>
                    <a:pt x="1695" y="2379"/>
                  </a:lnTo>
                  <a:lnTo>
                    <a:pt x="1702" y="2412"/>
                  </a:lnTo>
                  <a:lnTo>
                    <a:pt x="1702" y="2412"/>
                  </a:lnTo>
                  <a:lnTo>
                    <a:pt x="1707" y="2383"/>
                  </a:lnTo>
                  <a:lnTo>
                    <a:pt x="1713" y="2349"/>
                  </a:lnTo>
                  <a:lnTo>
                    <a:pt x="1732" y="2258"/>
                  </a:lnTo>
                  <a:close/>
                  <a:moveTo>
                    <a:pt x="1888" y="2252"/>
                  </a:moveTo>
                  <a:lnTo>
                    <a:pt x="1888" y="2252"/>
                  </a:lnTo>
                  <a:lnTo>
                    <a:pt x="1879" y="2253"/>
                  </a:lnTo>
                  <a:lnTo>
                    <a:pt x="1868" y="2254"/>
                  </a:lnTo>
                  <a:lnTo>
                    <a:pt x="1859" y="2258"/>
                  </a:lnTo>
                  <a:lnTo>
                    <a:pt x="1850" y="2262"/>
                  </a:lnTo>
                  <a:lnTo>
                    <a:pt x="1842" y="2267"/>
                  </a:lnTo>
                  <a:lnTo>
                    <a:pt x="1834" y="2274"/>
                  </a:lnTo>
                  <a:lnTo>
                    <a:pt x="1827" y="2280"/>
                  </a:lnTo>
                  <a:lnTo>
                    <a:pt x="1820" y="2289"/>
                  </a:lnTo>
                  <a:lnTo>
                    <a:pt x="1814" y="2297"/>
                  </a:lnTo>
                  <a:lnTo>
                    <a:pt x="1809" y="2307"/>
                  </a:lnTo>
                  <a:lnTo>
                    <a:pt x="1804" y="2318"/>
                  </a:lnTo>
                  <a:lnTo>
                    <a:pt x="1800" y="2329"/>
                  </a:lnTo>
                  <a:lnTo>
                    <a:pt x="1797" y="2342"/>
                  </a:lnTo>
                  <a:lnTo>
                    <a:pt x="1794" y="2355"/>
                  </a:lnTo>
                  <a:lnTo>
                    <a:pt x="1793" y="2367"/>
                  </a:lnTo>
                  <a:lnTo>
                    <a:pt x="1793" y="2382"/>
                  </a:lnTo>
                  <a:lnTo>
                    <a:pt x="1793" y="2382"/>
                  </a:lnTo>
                  <a:lnTo>
                    <a:pt x="1793" y="2396"/>
                  </a:lnTo>
                  <a:lnTo>
                    <a:pt x="1794" y="2409"/>
                  </a:lnTo>
                  <a:lnTo>
                    <a:pt x="1797" y="2422"/>
                  </a:lnTo>
                  <a:lnTo>
                    <a:pt x="1800" y="2434"/>
                  </a:lnTo>
                  <a:lnTo>
                    <a:pt x="1804" y="2445"/>
                  </a:lnTo>
                  <a:lnTo>
                    <a:pt x="1809" y="2456"/>
                  </a:lnTo>
                  <a:lnTo>
                    <a:pt x="1814" y="2466"/>
                  </a:lnTo>
                  <a:lnTo>
                    <a:pt x="1820" y="2474"/>
                  </a:lnTo>
                  <a:lnTo>
                    <a:pt x="1827" y="2483"/>
                  </a:lnTo>
                  <a:lnTo>
                    <a:pt x="1834" y="2490"/>
                  </a:lnTo>
                  <a:lnTo>
                    <a:pt x="1842" y="2497"/>
                  </a:lnTo>
                  <a:lnTo>
                    <a:pt x="1850" y="2502"/>
                  </a:lnTo>
                  <a:lnTo>
                    <a:pt x="1859" y="2505"/>
                  </a:lnTo>
                  <a:lnTo>
                    <a:pt x="1868" y="2509"/>
                  </a:lnTo>
                  <a:lnTo>
                    <a:pt x="1879" y="2510"/>
                  </a:lnTo>
                  <a:lnTo>
                    <a:pt x="1888" y="2511"/>
                  </a:lnTo>
                  <a:lnTo>
                    <a:pt x="1888" y="2511"/>
                  </a:lnTo>
                  <a:lnTo>
                    <a:pt x="1898" y="2510"/>
                  </a:lnTo>
                  <a:lnTo>
                    <a:pt x="1909" y="2509"/>
                  </a:lnTo>
                  <a:lnTo>
                    <a:pt x="1918" y="2505"/>
                  </a:lnTo>
                  <a:lnTo>
                    <a:pt x="1926" y="2502"/>
                  </a:lnTo>
                  <a:lnTo>
                    <a:pt x="1935" y="2497"/>
                  </a:lnTo>
                  <a:lnTo>
                    <a:pt x="1943" y="2490"/>
                  </a:lnTo>
                  <a:lnTo>
                    <a:pt x="1950" y="2483"/>
                  </a:lnTo>
                  <a:lnTo>
                    <a:pt x="1957" y="2474"/>
                  </a:lnTo>
                  <a:lnTo>
                    <a:pt x="1963" y="2466"/>
                  </a:lnTo>
                  <a:lnTo>
                    <a:pt x="1968" y="2456"/>
                  </a:lnTo>
                  <a:lnTo>
                    <a:pt x="1972" y="2445"/>
                  </a:lnTo>
                  <a:lnTo>
                    <a:pt x="1976" y="2434"/>
                  </a:lnTo>
                  <a:lnTo>
                    <a:pt x="1979" y="2422"/>
                  </a:lnTo>
                  <a:lnTo>
                    <a:pt x="1982" y="2409"/>
                  </a:lnTo>
                  <a:lnTo>
                    <a:pt x="1984" y="2396"/>
                  </a:lnTo>
                  <a:lnTo>
                    <a:pt x="1984" y="2382"/>
                  </a:lnTo>
                  <a:lnTo>
                    <a:pt x="1984" y="2382"/>
                  </a:lnTo>
                  <a:lnTo>
                    <a:pt x="1984" y="2367"/>
                  </a:lnTo>
                  <a:lnTo>
                    <a:pt x="1982" y="2355"/>
                  </a:lnTo>
                  <a:lnTo>
                    <a:pt x="1979" y="2342"/>
                  </a:lnTo>
                  <a:lnTo>
                    <a:pt x="1976" y="2329"/>
                  </a:lnTo>
                  <a:lnTo>
                    <a:pt x="1972" y="2318"/>
                  </a:lnTo>
                  <a:lnTo>
                    <a:pt x="1968" y="2307"/>
                  </a:lnTo>
                  <a:lnTo>
                    <a:pt x="1963" y="2297"/>
                  </a:lnTo>
                  <a:lnTo>
                    <a:pt x="1957" y="2289"/>
                  </a:lnTo>
                  <a:lnTo>
                    <a:pt x="1950" y="2280"/>
                  </a:lnTo>
                  <a:lnTo>
                    <a:pt x="1943" y="2274"/>
                  </a:lnTo>
                  <a:lnTo>
                    <a:pt x="1935" y="2267"/>
                  </a:lnTo>
                  <a:lnTo>
                    <a:pt x="1926" y="2262"/>
                  </a:lnTo>
                  <a:lnTo>
                    <a:pt x="1918" y="2258"/>
                  </a:lnTo>
                  <a:lnTo>
                    <a:pt x="1909" y="2254"/>
                  </a:lnTo>
                  <a:lnTo>
                    <a:pt x="1898" y="2253"/>
                  </a:lnTo>
                  <a:lnTo>
                    <a:pt x="1888" y="2252"/>
                  </a:lnTo>
                  <a:lnTo>
                    <a:pt x="1888" y="2252"/>
                  </a:lnTo>
                  <a:close/>
                  <a:moveTo>
                    <a:pt x="1888" y="2454"/>
                  </a:moveTo>
                  <a:lnTo>
                    <a:pt x="1888" y="2454"/>
                  </a:lnTo>
                  <a:lnTo>
                    <a:pt x="1879" y="2452"/>
                  </a:lnTo>
                  <a:lnTo>
                    <a:pt x="1871" y="2449"/>
                  </a:lnTo>
                  <a:lnTo>
                    <a:pt x="1864" y="2442"/>
                  </a:lnTo>
                  <a:lnTo>
                    <a:pt x="1858" y="2434"/>
                  </a:lnTo>
                  <a:lnTo>
                    <a:pt x="1853" y="2424"/>
                  </a:lnTo>
                  <a:lnTo>
                    <a:pt x="1848" y="2412"/>
                  </a:lnTo>
                  <a:lnTo>
                    <a:pt x="1846" y="2397"/>
                  </a:lnTo>
                  <a:lnTo>
                    <a:pt x="1846" y="2382"/>
                  </a:lnTo>
                  <a:lnTo>
                    <a:pt x="1846" y="2382"/>
                  </a:lnTo>
                  <a:lnTo>
                    <a:pt x="1846" y="2366"/>
                  </a:lnTo>
                  <a:lnTo>
                    <a:pt x="1848" y="2353"/>
                  </a:lnTo>
                  <a:lnTo>
                    <a:pt x="1853" y="2340"/>
                  </a:lnTo>
                  <a:lnTo>
                    <a:pt x="1858" y="2329"/>
                  </a:lnTo>
                  <a:lnTo>
                    <a:pt x="1864" y="2321"/>
                  </a:lnTo>
                  <a:lnTo>
                    <a:pt x="1871" y="2315"/>
                  </a:lnTo>
                  <a:lnTo>
                    <a:pt x="1879" y="2311"/>
                  </a:lnTo>
                  <a:lnTo>
                    <a:pt x="1888" y="2310"/>
                  </a:lnTo>
                  <a:lnTo>
                    <a:pt x="1888" y="2310"/>
                  </a:lnTo>
                  <a:lnTo>
                    <a:pt x="1897" y="2311"/>
                  </a:lnTo>
                  <a:lnTo>
                    <a:pt x="1906" y="2315"/>
                  </a:lnTo>
                  <a:lnTo>
                    <a:pt x="1913" y="2321"/>
                  </a:lnTo>
                  <a:lnTo>
                    <a:pt x="1919" y="2329"/>
                  </a:lnTo>
                  <a:lnTo>
                    <a:pt x="1924" y="2340"/>
                  </a:lnTo>
                  <a:lnTo>
                    <a:pt x="1927" y="2353"/>
                  </a:lnTo>
                  <a:lnTo>
                    <a:pt x="1930" y="2366"/>
                  </a:lnTo>
                  <a:lnTo>
                    <a:pt x="1931" y="2382"/>
                  </a:lnTo>
                  <a:lnTo>
                    <a:pt x="1931" y="2382"/>
                  </a:lnTo>
                  <a:lnTo>
                    <a:pt x="1930" y="2397"/>
                  </a:lnTo>
                  <a:lnTo>
                    <a:pt x="1927" y="2412"/>
                  </a:lnTo>
                  <a:lnTo>
                    <a:pt x="1924" y="2424"/>
                  </a:lnTo>
                  <a:lnTo>
                    <a:pt x="1919" y="2434"/>
                  </a:lnTo>
                  <a:lnTo>
                    <a:pt x="1913" y="2442"/>
                  </a:lnTo>
                  <a:lnTo>
                    <a:pt x="1906" y="2449"/>
                  </a:lnTo>
                  <a:lnTo>
                    <a:pt x="1897" y="2452"/>
                  </a:lnTo>
                  <a:lnTo>
                    <a:pt x="1888" y="2454"/>
                  </a:lnTo>
                  <a:lnTo>
                    <a:pt x="1888" y="2454"/>
                  </a:lnTo>
                  <a:close/>
                  <a:moveTo>
                    <a:pt x="789" y="2339"/>
                  </a:moveTo>
                  <a:lnTo>
                    <a:pt x="852" y="2505"/>
                  </a:lnTo>
                  <a:lnTo>
                    <a:pt x="795" y="2505"/>
                  </a:lnTo>
                  <a:lnTo>
                    <a:pt x="751" y="2391"/>
                  </a:lnTo>
                  <a:lnTo>
                    <a:pt x="723" y="2431"/>
                  </a:lnTo>
                  <a:lnTo>
                    <a:pt x="723" y="2505"/>
                  </a:lnTo>
                  <a:lnTo>
                    <a:pt x="672" y="2505"/>
                  </a:lnTo>
                  <a:lnTo>
                    <a:pt x="672" y="2186"/>
                  </a:lnTo>
                  <a:lnTo>
                    <a:pt x="723" y="2155"/>
                  </a:lnTo>
                  <a:lnTo>
                    <a:pt x="723" y="2353"/>
                  </a:lnTo>
                  <a:lnTo>
                    <a:pt x="723" y="2353"/>
                  </a:lnTo>
                  <a:lnTo>
                    <a:pt x="743" y="2321"/>
                  </a:lnTo>
                  <a:lnTo>
                    <a:pt x="785" y="2258"/>
                  </a:lnTo>
                  <a:lnTo>
                    <a:pt x="845" y="2258"/>
                  </a:lnTo>
                  <a:lnTo>
                    <a:pt x="789" y="2339"/>
                  </a:lnTo>
                  <a:close/>
                  <a:moveTo>
                    <a:pt x="1034" y="2505"/>
                  </a:moveTo>
                  <a:lnTo>
                    <a:pt x="982" y="2505"/>
                  </a:lnTo>
                  <a:lnTo>
                    <a:pt x="982" y="2258"/>
                  </a:lnTo>
                  <a:lnTo>
                    <a:pt x="1034" y="2258"/>
                  </a:lnTo>
                  <a:lnTo>
                    <a:pt x="1034" y="2279"/>
                  </a:lnTo>
                  <a:lnTo>
                    <a:pt x="1034" y="2279"/>
                  </a:lnTo>
                  <a:lnTo>
                    <a:pt x="1040" y="2273"/>
                  </a:lnTo>
                  <a:lnTo>
                    <a:pt x="1045" y="2268"/>
                  </a:lnTo>
                  <a:lnTo>
                    <a:pt x="1051" y="2263"/>
                  </a:lnTo>
                  <a:lnTo>
                    <a:pt x="1057" y="2259"/>
                  </a:lnTo>
                  <a:lnTo>
                    <a:pt x="1065" y="2257"/>
                  </a:lnTo>
                  <a:lnTo>
                    <a:pt x="1072" y="2254"/>
                  </a:lnTo>
                  <a:lnTo>
                    <a:pt x="1079" y="2253"/>
                  </a:lnTo>
                  <a:lnTo>
                    <a:pt x="1088" y="2252"/>
                  </a:lnTo>
                  <a:lnTo>
                    <a:pt x="1088" y="2252"/>
                  </a:lnTo>
                  <a:lnTo>
                    <a:pt x="1097" y="2253"/>
                  </a:lnTo>
                  <a:lnTo>
                    <a:pt x="1105" y="2254"/>
                  </a:lnTo>
                  <a:lnTo>
                    <a:pt x="1113" y="2257"/>
                  </a:lnTo>
                  <a:lnTo>
                    <a:pt x="1121" y="2259"/>
                  </a:lnTo>
                  <a:lnTo>
                    <a:pt x="1127" y="2264"/>
                  </a:lnTo>
                  <a:lnTo>
                    <a:pt x="1133" y="2269"/>
                  </a:lnTo>
                  <a:lnTo>
                    <a:pt x="1140" y="2274"/>
                  </a:lnTo>
                  <a:lnTo>
                    <a:pt x="1145" y="2281"/>
                  </a:lnTo>
                  <a:lnTo>
                    <a:pt x="1149" y="2289"/>
                  </a:lnTo>
                  <a:lnTo>
                    <a:pt x="1153" y="2297"/>
                  </a:lnTo>
                  <a:lnTo>
                    <a:pt x="1156" y="2306"/>
                  </a:lnTo>
                  <a:lnTo>
                    <a:pt x="1159" y="2317"/>
                  </a:lnTo>
                  <a:lnTo>
                    <a:pt x="1161" y="2328"/>
                  </a:lnTo>
                  <a:lnTo>
                    <a:pt x="1163" y="2339"/>
                  </a:lnTo>
                  <a:lnTo>
                    <a:pt x="1164" y="2352"/>
                  </a:lnTo>
                  <a:lnTo>
                    <a:pt x="1165" y="2365"/>
                  </a:lnTo>
                  <a:lnTo>
                    <a:pt x="1165" y="2505"/>
                  </a:lnTo>
                  <a:lnTo>
                    <a:pt x="1113" y="2505"/>
                  </a:lnTo>
                  <a:lnTo>
                    <a:pt x="1113" y="2369"/>
                  </a:lnTo>
                  <a:lnTo>
                    <a:pt x="1113" y="2369"/>
                  </a:lnTo>
                  <a:lnTo>
                    <a:pt x="1112" y="2355"/>
                  </a:lnTo>
                  <a:lnTo>
                    <a:pt x="1110" y="2342"/>
                  </a:lnTo>
                  <a:lnTo>
                    <a:pt x="1107" y="2332"/>
                  </a:lnTo>
                  <a:lnTo>
                    <a:pt x="1103" y="2323"/>
                  </a:lnTo>
                  <a:lnTo>
                    <a:pt x="1098" y="2317"/>
                  </a:lnTo>
                  <a:lnTo>
                    <a:pt x="1092" y="2312"/>
                  </a:lnTo>
                  <a:lnTo>
                    <a:pt x="1083" y="2310"/>
                  </a:lnTo>
                  <a:lnTo>
                    <a:pt x="1074" y="2308"/>
                  </a:lnTo>
                  <a:lnTo>
                    <a:pt x="1074" y="2308"/>
                  </a:lnTo>
                  <a:lnTo>
                    <a:pt x="1066" y="2310"/>
                  </a:lnTo>
                  <a:lnTo>
                    <a:pt x="1057" y="2312"/>
                  </a:lnTo>
                  <a:lnTo>
                    <a:pt x="1050" y="2317"/>
                  </a:lnTo>
                  <a:lnTo>
                    <a:pt x="1045" y="2324"/>
                  </a:lnTo>
                  <a:lnTo>
                    <a:pt x="1041" y="2332"/>
                  </a:lnTo>
                  <a:lnTo>
                    <a:pt x="1038" y="2343"/>
                  </a:lnTo>
                  <a:lnTo>
                    <a:pt x="1036" y="2355"/>
                  </a:lnTo>
                  <a:lnTo>
                    <a:pt x="1034" y="2369"/>
                  </a:lnTo>
                  <a:lnTo>
                    <a:pt x="1034" y="2505"/>
                  </a:lnTo>
                  <a:close/>
                  <a:moveTo>
                    <a:pt x="1328" y="2275"/>
                  </a:moveTo>
                  <a:lnTo>
                    <a:pt x="1328" y="2275"/>
                  </a:lnTo>
                  <a:lnTo>
                    <a:pt x="1323" y="2270"/>
                  </a:lnTo>
                  <a:lnTo>
                    <a:pt x="1318" y="2265"/>
                  </a:lnTo>
                  <a:lnTo>
                    <a:pt x="1312" y="2262"/>
                  </a:lnTo>
                  <a:lnTo>
                    <a:pt x="1306" y="2258"/>
                  </a:lnTo>
                  <a:lnTo>
                    <a:pt x="1300" y="2256"/>
                  </a:lnTo>
                  <a:lnTo>
                    <a:pt x="1294" y="2254"/>
                  </a:lnTo>
                  <a:lnTo>
                    <a:pt x="1287" y="2253"/>
                  </a:lnTo>
                  <a:lnTo>
                    <a:pt x="1281" y="2252"/>
                  </a:lnTo>
                  <a:lnTo>
                    <a:pt x="1281" y="2252"/>
                  </a:lnTo>
                  <a:lnTo>
                    <a:pt x="1272" y="2253"/>
                  </a:lnTo>
                  <a:lnTo>
                    <a:pt x="1263" y="2254"/>
                  </a:lnTo>
                  <a:lnTo>
                    <a:pt x="1255" y="2257"/>
                  </a:lnTo>
                  <a:lnTo>
                    <a:pt x="1247" y="2262"/>
                  </a:lnTo>
                  <a:lnTo>
                    <a:pt x="1240" y="2265"/>
                  </a:lnTo>
                  <a:lnTo>
                    <a:pt x="1233" y="2272"/>
                  </a:lnTo>
                  <a:lnTo>
                    <a:pt x="1227" y="2279"/>
                  </a:lnTo>
                  <a:lnTo>
                    <a:pt x="1221" y="2286"/>
                  </a:lnTo>
                  <a:lnTo>
                    <a:pt x="1216" y="2295"/>
                  </a:lnTo>
                  <a:lnTo>
                    <a:pt x="1211" y="2305"/>
                  </a:lnTo>
                  <a:lnTo>
                    <a:pt x="1207" y="2315"/>
                  </a:lnTo>
                  <a:lnTo>
                    <a:pt x="1204" y="2327"/>
                  </a:lnTo>
                  <a:lnTo>
                    <a:pt x="1202" y="2338"/>
                  </a:lnTo>
                  <a:lnTo>
                    <a:pt x="1200" y="2352"/>
                  </a:lnTo>
                  <a:lnTo>
                    <a:pt x="1199" y="2365"/>
                  </a:lnTo>
                  <a:lnTo>
                    <a:pt x="1199" y="2379"/>
                  </a:lnTo>
                  <a:lnTo>
                    <a:pt x="1199" y="2379"/>
                  </a:lnTo>
                  <a:lnTo>
                    <a:pt x="1199" y="2395"/>
                  </a:lnTo>
                  <a:lnTo>
                    <a:pt x="1200" y="2408"/>
                  </a:lnTo>
                  <a:lnTo>
                    <a:pt x="1202" y="2422"/>
                  </a:lnTo>
                  <a:lnTo>
                    <a:pt x="1204" y="2435"/>
                  </a:lnTo>
                  <a:lnTo>
                    <a:pt x="1207" y="2446"/>
                  </a:lnTo>
                  <a:lnTo>
                    <a:pt x="1211" y="2457"/>
                  </a:lnTo>
                  <a:lnTo>
                    <a:pt x="1216" y="2467"/>
                  </a:lnTo>
                  <a:lnTo>
                    <a:pt x="1221" y="2476"/>
                  </a:lnTo>
                  <a:lnTo>
                    <a:pt x="1226" y="2484"/>
                  </a:lnTo>
                  <a:lnTo>
                    <a:pt x="1232" y="2490"/>
                  </a:lnTo>
                  <a:lnTo>
                    <a:pt x="1238" y="2497"/>
                  </a:lnTo>
                  <a:lnTo>
                    <a:pt x="1246" y="2502"/>
                  </a:lnTo>
                  <a:lnTo>
                    <a:pt x="1254" y="2505"/>
                  </a:lnTo>
                  <a:lnTo>
                    <a:pt x="1262" y="2509"/>
                  </a:lnTo>
                  <a:lnTo>
                    <a:pt x="1271" y="2510"/>
                  </a:lnTo>
                  <a:lnTo>
                    <a:pt x="1280" y="2511"/>
                  </a:lnTo>
                  <a:lnTo>
                    <a:pt x="1280" y="2511"/>
                  </a:lnTo>
                  <a:lnTo>
                    <a:pt x="1286" y="2510"/>
                  </a:lnTo>
                  <a:lnTo>
                    <a:pt x="1294" y="2509"/>
                  </a:lnTo>
                  <a:lnTo>
                    <a:pt x="1300" y="2508"/>
                  </a:lnTo>
                  <a:lnTo>
                    <a:pt x="1306" y="2505"/>
                  </a:lnTo>
                  <a:lnTo>
                    <a:pt x="1311" y="2502"/>
                  </a:lnTo>
                  <a:lnTo>
                    <a:pt x="1318" y="2498"/>
                  </a:lnTo>
                  <a:lnTo>
                    <a:pt x="1323" y="2493"/>
                  </a:lnTo>
                  <a:lnTo>
                    <a:pt x="1328" y="2487"/>
                  </a:lnTo>
                  <a:lnTo>
                    <a:pt x="1328" y="2493"/>
                  </a:lnTo>
                  <a:lnTo>
                    <a:pt x="1328" y="2493"/>
                  </a:lnTo>
                  <a:lnTo>
                    <a:pt x="1328" y="2503"/>
                  </a:lnTo>
                  <a:lnTo>
                    <a:pt x="1327" y="2514"/>
                  </a:lnTo>
                  <a:lnTo>
                    <a:pt x="1324" y="2525"/>
                  </a:lnTo>
                  <a:lnTo>
                    <a:pt x="1322" y="2530"/>
                  </a:lnTo>
                  <a:lnTo>
                    <a:pt x="1320" y="2535"/>
                  </a:lnTo>
                  <a:lnTo>
                    <a:pt x="1315" y="2540"/>
                  </a:lnTo>
                  <a:lnTo>
                    <a:pt x="1311" y="2545"/>
                  </a:lnTo>
                  <a:lnTo>
                    <a:pt x="1306" y="2548"/>
                  </a:lnTo>
                  <a:lnTo>
                    <a:pt x="1300" y="2552"/>
                  </a:lnTo>
                  <a:lnTo>
                    <a:pt x="1292" y="2554"/>
                  </a:lnTo>
                  <a:lnTo>
                    <a:pt x="1283" y="2557"/>
                  </a:lnTo>
                  <a:lnTo>
                    <a:pt x="1273" y="2558"/>
                  </a:lnTo>
                  <a:lnTo>
                    <a:pt x="1260" y="2558"/>
                  </a:lnTo>
                  <a:lnTo>
                    <a:pt x="1258" y="2558"/>
                  </a:lnTo>
                  <a:lnTo>
                    <a:pt x="1277" y="2606"/>
                  </a:lnTo>
                  <a:lnTo>
                    <a:pt x="1278" y="2606"/>
                  </a:lnTo>
                  <a:lnTo>
                    <a:pt x="1278" y="2606"/>
                  </a:lnTo>
                  <a:lnTo>
                    <a:pt x="1291" y="2606"/>
                  </a:lnTo>
                  <a:lnTo>
                    <a:pt x="1302" y="2605"/>
                  </a:lnTo>
                  <a:lnTo>
                    <a:pt x="1312" y="2601"/>
                  </a:lnTo>
                  <a:lnTo>
                    <a:pt x="1323" y="2599"/>
                  </a:lnTo>
                  <a:lnTo>
                    <a:pt x="1332" y="2594"/>
                  </a:lnTo>
                  <a:lnTo>
                    <a:pt x="1340" y="2589"/>
                  </a:lnTo>
                  <a:lnTo>
                    <a:pt x="1348" y="2583"/>
                  </a:lnTo>
                  <a:lnTo>
                    <a:pt x="1354" y="2575"/>
                  </a:lnTo>
                  <a:lnTo>
                    <a:pt x="1360" y="2567"/>
                  </a:lnTo>
                  <a:lnTo>
                    <a:pt x="1365" y="2558"/>
                  </a:lnTo>
                  <a:lnTo>
                    <a:pt x="1370" y="2547"/>
                  </a:lnTo>
                  <a:lnTo>
                    <a:pt x="1373" y="2536"/>
                  </a:lnTo>
                  <a:lnTo>
                    <a:pt x="1376" y="2525"/>
                  </a:lnTo>
                  <a:lnTo>
                    <a:pt x="1378" y="2511"/>
                  </a:lnTo>
                  <a:lnTo>
                    <a:pt x="1379" y="2498"/>
                  </a:lnTo>
                  <a:lnTo>
                    <a:pt x="1379" y="2483"/>
                  </a:lnTo>
                  <a:lnTo>
                    <a:pt x="1379" y="2258"/>
                  </a:lnTo>
                  <a:lnTo>
                    <a:pt x="1328" y="2258"/>
                  </a:lnTo>
                  <a:lnTo>
                    <a:pt x="1328" y="2275"/>
                  </a:lnTo>
                  <a:close/>
                  <a:moveTo>
                    <a:pt x="1328" y="2333"/>
                  </a:moveTo>
                  <a:lnTo>
                    <a:pt x="1328" y="2430"/>
                  </a:lnTo>
                  <a:lnTo>
                    <a:pt x="1328" y="2430"/>
                  </a:lnTo>
                  <a:lnTo>
                    <a:pt x="1321" y="2439"/>
                  </a:lnTo>
                  <a:lnTo>
                    <a:pt x="1313" y="2447"/>
                  </a:lnTo>
                  <a:lnTo>
                    <a:pt x="1308" y="2450"/>
                  </a:lnTo>
                  <a:lnTo>
                    <a:pt x="1303" y="2452"/>
                  </a:lnTo>
                  <a:lnTo>
                    <a:pt x="1298" y="2454"/>
                  </a:lnTo>
                  <a:lnTo>
                    <a:pt x="1291" y="2455"/>
                  </a:lnTo>
                  <a:lnTo>
                    <a:pt x="1291" y="2455"/>
                  </a:lnTo>
                  <a:lnTo>
                    <a:pt x="1284" y="2454"/>
                  </a:lnTo>
                  <a:lnTo>
                    <a:pt x="1277" y="2451"/>
                  </a:lnTo>
                  <a:lnTo>
                    <a:pt x="1271" y="2447"/>
                  </a:lnTo>
                  <a:lnTo>
                    <a:pt x="1265" y="2440"/>
                  </a:lnTo>
                  <a:lnTo>
                    <a:pt x="1259" y="2430"/>
                  </a:lnTo>
                  <a:lnTo>
                    <a:pt x="1255" y="2417"/>
                  </a:lnTo>
                  <a:lnTo>
                    <a:pt x="1253" y="2399"/>
                  </a:lnTo>
                  <a:lnTo>
                    <a:pt x="1252" y="2377"/>
                  </a:lnTo>
                  <a:lnTo>
                    <a:pt x="1252" y="2377"/>
                  </a:lnTo>
                  <a:lnTo>
                    <a:pt x="1253" y="2359"/>
                  </a:lnTo>
                  <a:lnTo>
                    <a:pt x="1255" y="2343"/>
                  </a:lnTo>
                  <a:lnTo>
                    <a:pt x="1259" y="2331"/>
                  </a:lnTo>
                  <a:lnTo>
                    <a:pt x="1265" y="2322"/>
                  </a:lnTo>
                  <a:lnTo>
                    <a:pt x="1271" y="2316"/>
                  </a:lnTo>
                  <a:lnTo>
                    <a:pt x="1277" y="2311"/>
                  </a:lnTo>
                  <a:lnTo>
                    <a:pt x="1284" y="2310"/>
                  </a:lnTo>
                  <a:lnTo>
                    <a:pt x="1291" y="2308"/>
                  </a:lnTo>
                  <a:lnTo>
                    <a:pt x="1291" y="2308"/>
                  </a:lnTo>
                  <a:lnTo>
                    <a:pt x="1298" y="2310"/>
                  </a:lnTo>
                  <a:lnTo>
                    <a:pt x="1304" y="2311"/>
                  </a:lnTo>
                  <a:lnTo>
                    <a:pt x="1309" y="2313"/>
                  </a:lnTo>
                  <a:lnTo>
                    <a:pt x="1314" y="2317"/>
                  </a:lnTo>
                  <a:lnTo>
                    <a:pt x="1319" y="2321"/>
                  </a:lnTo>
                  <a:lnTo>
                    <a:pt x="1322" y="2324"/>
                  </a:lnTo>
                  <a:lnTo>
                    <a:pt x="1328" y="2333"/>
                  </a:lnTo>
                  <a:lnTo>
                    <a:pt x="1328" y="2333"/>
                  </a:lnTo>
                  <a:close/>
                  <a:moveTo>
                    <a:pt x="885" y="2258"/>
                  </a:moveTo>
                  <a:lnTo>
                    <a:pt x="937" y="2258"/>
                  </a:lnTo>
                  <a:lnTo>
                    <a:pt x="937" y="2367"/>
                  </a:lnTo>
                  <a:lnTo>
                    <a:pt x="937" y="2505"/>
                  </a:lnTo>
                  <a:lnTo>
                    <a:pt x="885" y="2505"/>
                  </a:lnTo>
                  <a:lnTo>
                    <a:pt x="885" y="2258"/>
                  </a:lnTo>
                  <a:close/>
                  <a:moveTo>
                    <a:pt x="937" y="2192"/>
                  </a:moveTo>
                  <a:lnTo>
                    <a:pt x="937" y="2222"/>
                  </a:lnTo>
                  <a:lnTo>
                    <a:pt x="885" y="2222"/>
                  </a:lnTo>
                  <a:lnTo>
                    <a:pt x="885" y="2161"/>
                  </a:lnTo>
                  <a:lnTo>
                    <a:pt x="937" y="2161"/>
                  </a:lnTo>
                  <a:lnTo>
                    <a:pt x="937" y="2192"/>
                  </a:lnTo>
                  <a:close/>
                  <a:moveTo>
                    <a:pt x="2177" y="2186"/>
                  </a:moveTo>
                  <a:lnTo>
                    <a:pt x="2229" y="2155"/>
                  </a:lnTo>
                  <a:lnTo>
                    <a:pt x="2229" y="2379"/>
                  </a:lnTo>
                  <a:lnTo>
                    <a:pt x="2229" y="2505"/>
                  </a:lnTo>
                  <a:lnTo>
                    <a:pt x="2177" y="2505"/>
                  </a:lnTo>
                  <a:lnTo>
                    <a:pt x="2177" y="2186"/>
                  </a:lnTo>
                  <a:close/>
                  <a:moveTo>
                    <a:pt x="375" y="843"/>
                  </a:moveTo>
                  <a:lnTo>
                    <a:pt x="801" y="843"/>
                  </a:lnTo>
                  <a:lnTo>
                    <a:pt x="801" y="550"/>
                  </a:lnTo>
                  <a:lnTo>
                    <a:pt x="375" y="550"/>
                  </a:lnTo>
                  <a:lnTo>
                    <a:pt x="375" y="321"/>
                  </a:lnTo>
                  <a:lnTo>
                    <a:pt x="847" y="321"/>
                  </a:lnTo>
                  <a:lnTo>
                    <a:pt x="690" y="0"/>
                  </a:lnTo>
                  <a:lnTo>
                    <a:pt x="21" y="0"/>
                  </a:lnTo>
                  <a:lnTo>
                    <a:pt x="21" y="1394"/>
                  </a:lnTo>
                  <a:lnTo>
                    <a:pt x="965" y="1394"/>
                  </a:lnTo>
                  <a:lnTo>
                    <a:pt x="965" y="1073"/>
                  </a:lnTo>
                  <a:lnTo>
                    <a:pt x="375" y="1073"/>
                  </a:lnTo>
                  <a:lnTo>
                    <a:pt x="375" y="843"/>
                  </a:lnTo>
                  <a:close/>
                  <a:moveTo>
                    <a:pt x="1593" y="0"/>
                  </a:moveTo>
                  <a:lnTo>
                    <a:pt x="1393" y="455"/>
                  </a:lnTo>
                  <a:lnTo>
                    <a:pt x="1193" y="0"/>
                  </a:lnTo>
                  <a:lnTo>
                    <a:pt x="801" y="0"/>
                  </a:lnTo>
                  <a:lnTo>
                    <a:pt x="1214" y="843"/>
                  </a:lnTo>
                  <a:lnTo>
                    <a:pt x="1214" y="1394"/>
                  </a:lnTo>
                  <a:lnTo>
                    <a:pt x="1566" y="1394"/>
                  </a:lnTo>
                  <a:lnTo>
                    <a:pt x="1566" y="843"/>
                  </a:lnTo>
                  <a:lnTo>
                    <a:pt x="1979" y="0"/>
                  </a:lnTo>
                  <a:lnTo>
                    <a:pt x="159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0906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9397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8037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727963" y="5748345"/>
            <a:ext cx="1179196" cy="74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6"/>
          <p:cNvGrpSpPr>
            <a:grpSpLocks/>
          </p:cNvGrpSpPr>
          <p:nvPr userDrawn="1"/>
        </p:nvGrpSpPr>
        <p:grpSpPr bwMode="auto">
          <a:xfrm>
            <a:off x="0" y="2403480"/>
            <a:ext cx="10972800" cy="3348039"/>
            <a:chOff x="0" y="2403072"/>
            <a:chExt cx="9144000" cy="3347943"/>
          </a:xfrm>
        </p:grpSpPr>
        <p:sp>
          <p:nvSpPr>
            <p:cNvPr id="6" name="Freeform 8"/>
            <p:cNvSpPr>
              <a:spLocks/>
            </p:cNvSpPr>
            <p:nvPr userDrawn="1"/>
          </p:nvSpPr>
          <p:spPr bwMode="gray">
            <a:xfrm>
              <a:off x="2279650" y="2403072"/>
              <a:ext cx="6864350" cy="2492304"/>
            </a:xfrm>
            <a:custGeom>
              <a:avLst/>
              <a:gdLst>
                <a:gd name="T0" fmla="*/ 0 w 5081"/>
                <a:gd name="T1" fmla="*/ 2147483647 h 1852"/>
                <a:gd name="T2" fmla="*/ 2147483647 w 5081"/>
                <a:gd name="T3" fmla="*/ 0 h 1852"/>
                <a:gd name="T4" fmla="*/ 2147483647 w 5081"/>
                <a:gd name="T5" fmla="*/ 2147483647 h 1852"/>
                <a:gd name="T6" fmla="*/ 0 w 5081"/>
                <a:gd name="T7" fmla="*/ 2147483647 h 185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>
                <a:solidFill>
                  <a:srgbClr val="000000"/>
                </a:solidFill>
              </a:endParaRPr>
            </a:p>
          </p:txBody>
        </p:sp>
        <p:pic>
          <p:nvPicPr>
            <p:cNvPr id="7" name="Picture 3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9072" y="757504"/>
            <a:ext cx="6588000" cy="860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9072" y="1753200"/>
            <a:ext cx="6588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5792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"/>
          <p:cNvSpPr>
            <a:spLocks noChangeShapeType="1"/>
          </p:cNvSpPr>
          <p:nvPr userDrawn="1"/>
        </p:nvSpPr>
        <p:spPr bwMode="auto">
          <a:xfrm>
            <a:off x="548640" y="1044575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27" tIns="45713" rIns="91427" bIns="4571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3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 userDrawn="1"/>
        </p:nvSpPr>
        <p:spPr bwMode="auto">
          <a:xfrm>
            <a:off x="548640" y="1044575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27" tIns="45713" rIns="91427" bIns="4571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548640" y="6242051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27" tIns="45713" rIns="91427" bIns="4571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3105150" y="6415089"/>
            <a:ext cx="5434967" cy="201612"/>
          </a:xfrm>
          <a:prstGeom prst="rect">
            <a:avLst/>
          </a:prstGeom>
        </p:spPr>
        <p:txBody>
          <a:bodyPr lIns="91427" tIns="45713" rIns="91427" bIns="45713"/>
          <a:lstStyle>
            <a:lvl1pPr>
              <a:defRPr>
                <a:latin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mtClean="0">
                <a:solidFill>
                  <a:srgbClr val="000000"/>
                </a:solidFill>
              </a:rPr>
              <a:t>X-Gen Quality Assurance Report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352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0"/>
          <p:cNvSpPr>
            <a:spLocks noChangeShapeType="1"/>
          </p:cNvSpPr>
          <p:nvPr userDrawn="1"/>
        </p:nvSpPr>
        <p:spPr bwMode="auto">
          <a:xfrm>
            <a:off x="548640" y="1044575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27" tIns="45713" rIns="91427" bIns="4571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6" name="Line 11"/>
          <p:cNvSpPr>
            <a:spLocks noChangeShapeType="1"/>
          </p:cNvSpPr>
          <p:nvPr userDrawn="1"/>
        </p:nvSpPr>
        <p:spPr bwMode="auto">
          <a:xfrm>
            <a:off x="548640" y="6242051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27" tIns="45713" rIns="91427" bIns="4571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5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5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0"/>
          </p:nvPr>
        </p:nvSpPr>
        <p:spPr>
          <a:xfrm>
            <a:off x="3105151" y="6413506"/>
            <a:ext cx="4122420" cy="201613"/>
          </a:xfrm>
          <a:prstGeom prst="rect">
            <a:avLst/>
          </a:prstGeom>
        </p:spPr>
        <p:txBody>
          <a:bodyPr lIns="91427" tIns="45713" rIns="91427" bIns="45713"/>
          <a:lstStyle>
            <a:lvl1pPr>
              <a:defRPr>
                <a:latin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mtClean="0">
                <a:solidFill>
                  <a:srgbClr val="000000"/>
                </a:solidFill>
              </a:rPr>
              <a:t>X-Gen Quality Assurance Report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2885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575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27" tIns="45713" rIns="91427" bIns="4571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051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27" tIns="45713" rIns="91427" bIns="4571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1" y="2196005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1" y="2178006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1" y="1490400"/>
            <a:ext cx="4851360" cy="640800"/>
          </a:xfrm>
        </p:spPr>
        <p:txBody>
          <a:bodyPr anchor="b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1" y="1490400"/>
            <a:ext cx="4851360" cy="640800"/>
          </a:xfrm>
        </p:spPr>
        <p:txBody>
          <a:bodyPr anchor="b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8625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548640" y="6242051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27" tIns="45713" rIns="91427" bIns="4571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7" y="1025527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1"/>
          <p:cNvSpPr>
            <a:spLocks noGrp="1"/>
          </p:cNvSpPr>
          <p:nvPr>
            <p:ph type="ftr" sz="quarter" idx="12"/>
          </p:nvPr>
        </p:nvSpPr>
        <p:spPr>
          <a:xfrm>
            <a:off x="3105150" y="6415089"/>
            <a:ext cx="5434967" cy="201612"/>
          </a:xfrm>
          <a:prstGeom prst="rect">
            <a:avLst/>
          </a:prstGeom>
        </p:spPr>
        <p:txBody>
          <a:bodyPr lIns="91427" tIns="45713" rIns="91427" bIns="45713"/>
          <a:lstStyle>
            <a:lvl1pPr>
              <a:defRPr>
                <a:latin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mtClean="0">
                <a:solidFill>
                  <a:srgbClr val="000000"/>
                </a:solidFill>
              </a:rPr>
              <a:t>X-Gen Quality Assurance Report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330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1"/>
          <p:cNvSpPr>
            <a:spLocks noChangeShapeType="1"/>
          </p:cNvSpPr>
          <p:nvPr userDrawn="1"/>
        </p:nvSpPr>
        <p:spPr bwMode="auto">
          <a:xfrm>
            <a:off x="546736" y="6243639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7" tIns="45713" rIns="91427" bIns="45713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3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5150" y="6415089"/>
            <a:ext cx="5434967" cy="201612"/>
          </a:xfrm>
          <a:prstGeom prst="rect">
            <a:avLst/>
          </a:prstGeom>
        </p:spPr>
        <p:txBody>
          <a:bodyPr lIns="91427" tIns="45713" rIns="91427" bIns="45713"/>
          <a:lstStyle>
            <a:lvl1pPr>
              <a:defRPr>
                <a:latin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mtClean="0">
                <a:solidFill>
                  <a:srgbClr val="000000"/>
                </a:solidFill>
              </a:rPr>
              <a:t>X-Gen Quality Assurance Report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000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1"/>
          <p:cNvSpPr>
            <a:spLocks noChangeShapeType="1"/>
          </p:cNvSpPr>
          <p:nvPr userDrawn="1"/>
        </p:nvSpPr>
        <p:spPr bwMode="auto">
          <a:xfrm>
            <a:off x="546736" y="6243639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7" tIns="45713" rIns="91427" bIns="45713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41"/>
            <a:ext cx="4207680" cy="5210063"/>
          </a:xfrm>
        </p:spPr>
        <p:txBody>
          <a:bodyPr/>
          <a:lstStyle>
            <a:lvl1pPr marL="0" indent="0" algn="l" defTabSz="995221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2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8" indent="-176188" algn="l" defTabSz="99522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2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6" indent="-188886" algn="l" defTabSz="99522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04838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8916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 userDrawn="1"/>
        </p:nvSpPr>
        <p:spPr bwMode="gray">
          <a:xfrm flipH="1">
            <a:off x="1" y="2614613"/>
            <a:ext cx="7818120" cy="1498600"/>
          </a:xfrm>
          <a:custGeom>
            <a:avLst/>
            <a:gdLst>
              <a:gd name="connsiteX0" fmla="*/ 85725 w 7705725"/>
              <a:gd name="connsiteY0" fmla="*/ 0 h 1704975"/>
              <a:gd name="connsiteX1" fmla="*/ 7705725 w 7705725"/>
              <a:gd name="connsiteY1" fmla="*/ 0 h 1704975"/>
              <a:gd name="connsiteX2" fmla="*/ 7705725 w 7705725"/>
              <a:gd name="connsiteY2" fmla="*/ 1704975 h 1704975"/>
              <a:gd name="connsiteX3" fmla="*/ 0 w 7705725"/>
              <a:gd name="connsiteY3" fmla="*/ 1704975 h 1704975"/>
              <a:gd name="connsiteX4" fmla="*/ 85725 w 7705725"/>
              <a:gd name="connsiteY4" fmla="*/ 0 h 1704975"/>
              <a:gd name="connsiteX0" fmla="*/ 0 w 7620000"/>
              <a:gd name="connsiteY0" fmla="*/ 0 h 1705429"/>
              <a:gd name="connsiteX1" fmla="*/ 7620000 w 7620000"/>
              <a:gd name="connsiteY1" fmla="*/ 0 h 1705429"/>
              <a:gd name="connsiteX2" fmla="*/ 7620000 w 7620000"/>
              <a:gd name="connsiteY2" fmla="*/ 1704975 h 1705429"/>
              <a:gd name="connsiteX3" fmla="*/ 329085 w 7620000"/>
              <a:gd name="connsiteY3" fmla="*/ 1705429 h 1705429"/>
              <a:gd name="connsiteX4" fmla="*/ 0 w 7620000"/>
              <a:gd name="connsiteY4" fmla="*/ 0 h 1705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0000" h="1705429">
                <a:moveTo>
                  <a:pt x="0" y="0"/>
                </a:moveTo>
                <a:lnTo>
                  <a:pt x="7620000" y="0"/>
                </a:lnTo>
                <a:lnTo>
                  <a:pt x="7620000" y="1704975"/>
                </a:lnTo>
                <a:lnTo>
                  <a:pt x="329085" y="170542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15" tIns="40057" rIns="80115" bIns="40057" anchor="ctr"/>
          <a:lstStyle/>
          <a:p>
            <a:pPr algn="ctr" defTabSz="914400">
              <a:defRPr/>
            </a:pPr>
            <a:endParaRPr lang="en-GB" sz="1800" dirty="0">
              <a:solidFill>
                <a:srgbClr val="80808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 bwMode="gray">
          <a:xfrm>
            <a:off x="609265" y="2851719"/>
            <a:ext cx="6724375" cy="254067"/>
          </a:xfrm>
        </p:spPr>
        <p:txBody>
          <a:bodyPr wrap="none" anchor="ctr"/>
          <a:lstStyle>
            <a:lvl1pPr>
              <a:defRPr lang="en-US" sz="1200" b="1" kern="1200" dirty="0" smtClean="0">
                <a:solidFill>
                  <a:srgbClr val="FFE600"/>
                </a:solidFill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 bwMode="gray">
          <a:xfrm>
            <a:off x="606140" y="3131671"/>
            <a:ext cx="6727524" cy="708407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lang="en-GB" sz="2600" b="1" kern="1200" dirty="0" smtClean="0">
                <a:solidFill>
                  <a:srgbClr val="FFFFFF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8307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170"/>
            <a:ext cx="9875520" cy="36576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062750"/>
            <a:ext cx="9875520" cy="469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202188"/>
            <a:ext cx="987552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429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304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667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216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1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402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sz="1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92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06418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1886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72236624"/>
              </p:ext>
            </p:extLst>
          </p:nvPr>
        </p:nvGraphicFramePr>
        <p:xfrm>
          <a:off x="1631" y="1435"/>
          <a:ext cx="1627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941"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1" y="1435"/>
                        <a:ext cx="1627" cy="14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48727" y="6420503"/>
            <a:ext cx="796216" cy="19651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/>
          <a:p>
            <a:pPr defTabSz="91277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cs typeface="Arial" pitchFamily="34" charset="0"/>
              </a:rPr>
              <a:t>Page </a:t>
            </a:r>
            <a:fld id="{34F40E3D-8AD0-4EE0-8BC0-1D8ECFD53801}" type="slidenum">
              <a:rPr lang="en-US" sz="1100">
                <a:solidFill>
                  <a:srgbClr val="000000"/>
                </a:solidFill>
                <a:cs typeface="Arial" pitchFamily="34" charset="0"/>
              </a:rPr>
              <a:pPr defTabSz="91277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Line 11"/>
          <p:cNvSpPr>
            <a:spLocks noChangeShapeType="1"/>
          </p:cNvSpPr>
          <p:nvPr/>
        </p:nvSpPr>
        <p:spPr bwMode="auto">
          <a:xfrm>
            <a:off x="547094" y="6244065"/>
            <a:ext cx="9875357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xtLst/>
        </p:spPr>
        <p:txBody>
          <a:bodyPr wrap="none" lIns="90989" tIns="45509" rIns="90989" bIns="4550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646464"/>
              </a:solidFill>
            </a:endParaRPr>
          </a:p>
        </p:txBody>
      </p:sp>
      <p:sp>
        <p:nvSpPr>
          <p:cNvPr id="7" name="Line 12"/>
          <p:cNvSpPr>
            <a:spLocks noChangeShapeType="1"/>
          </p:cNvSpPr>
          <p:nvPr/>
        </p:nvSpPr>
        <p:spPr bwMode="auto">
          <a:xfrm>
            <a:off x="547094" y="199386"/>
            <a:ext cx="9875357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xtLst/>
        </p:spPr>
        <p:txBody>
          <a:bodyPr wrap="none" lIns="90989" tIns="45509" rIns="90989" bIns="4550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646464"/>
              </a:solidFill>
            </a:endParaRPr>
          </a:p>
        </p:txBody>
      </p:sp>
      <p:sp>
        <p:nvSpPr>
          <p:cNvPr id="11" name="Freeform 10"/>
          <p:cNvSpPr/>
          <p:nvPr userDrawn="1"/>
        </p:nvSpPr>
        <p:spPr bwMode="gray">
          <a:xfrm flipH="1">
            <a:off x="4" y="2614966"/>
            <a:ext cx="7818872" cy="1497543"/>
          </a:xfrm>
          <a:custGeom>
            <a:avLst/>
            <a:gdLst>
              <a:gd name="connsiteX0" fmla="*/ 85725 w 7705725"/>
              <a:gd name="connsiteY0" fmla="*/ 0 h 1704975"/>
              <a:gd name="connsiteX1" fmla="*/ 7705725 w 7705725"/>
              <a:gd name="connsiteY1" fmla="*/ 0 h 1704975"/>
              <a:gd name="connsiteX2" fmla="*/ 7705725 w 7705725"/>
              <a:gd name="connsiteY2" fmla="*/ 1704975 h 1704975"/>
              <a:gd name="connsiteX3" fmla="*/ 0 w 7705725"/>
              <a:gd name="connsiteY3" fmla="*/ 1704975 h 1704975"/>
              <a:gd name="connsiteX4" fmla="*/ 85725 w 7705725"/>
              <a:gd name="connsiteY4" fmla="*/ 0 h 1704975"/>
              <a:gd name="connsiteX0" fmla="*/ 0 w 7620000"/>
              <a:gd name="connsiteY0" fmla="*/ 0 h 1705429"/>
              <a:gd name="connsiteX1" fmla="*/ 7620000 w 7620000"/>
              <a:gd name="connsiteY1" fmla="*/ 0 h 1705429"/>
              <a:gd name="connsiteX2" fmla="*/ 7620000 w 7620000"/>
              <a:gd name="connsiteY2" fmla="*/ 1704975 h 1705429"/>
              <a:gd name="connsiteX3" fmla="*/ 329085 w 7620000"/>
              <a:gd name="connsiteY3" fmla="*/ 1705429 h 1705429"/>
              <a:gd name="connsiteX4" fmla="*/ 0 w 7620000"/>
              <a:gd name="connsiteY4" fmla="*/ 0 h 1705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0000" h="1705429">
                <a:moveTo>
                  <a:pt x="0" y="0"/>
                </a:moveTo>
                <a:lnTo>
                  <a:pt x="7620000" y="0"/>
                </a:lnTo>
                <a:lnTo>
                  <a:pt x="7620000" y="1704975"/>
                </a:lnTo>
                <a:lnTo>
                  <a:pt x="329085" y="170542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757" tIns="39874" rIns="79757" bIns="39874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 bwMode="gray">
          <a:xfrm>
            <a:off x="609266" y="2851742"/>
            <a:ext cx="6724376" cy="254067"/>
          </a:xfrm>
          <a:prstGeom prst="rect">
            <a:avLst/>
          </a:prstGeom>
        </p:spPr>
        <p:txBody>
          <a:bodyPr wrap="none" lIns="79640" tIns="39811" rIns="79640" bIns="39811" anchor="ctr" anchorCtr="0"/>
          <a:lstStyle>
            <a:lvl1pPr>
              <a:defRPr lang="en-US" sz="1200" b="1" kern="1200" dirty="0" smtClean="0">
                <a:solidFill>
                  <a:srgbClr val="FFE600"/>
                </a:solidFill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 bwMode="gray">
          <a:xfrm>
            <a:off x="606140" y="3131670"/>
            <a:ext cx="6727525" cy="708406"/>
          </a:xfrm>
          <a:prstGeom prst="rect">
            <a:avLst/>
          </a:prstGeom>
        </p:spPr>
        <p:txBody>
          <a:bodyPr lIns="79640" tIns="39811" rIns="79640" bIns="39811"/>
          <a:lstStyle>
            <a:lvl1pPr>
              <a:lnSpc>
                <a:spcPct val="90000"/>
              </a:lnSpc>
              <a:spcAft>
                <a:spcPts val="0"/>
              </a:spcAft>
              <a:defRPr lang="en-GB" sz="2600" b="1" kern="1200" dirty="0" smtClean="0">
                <a:solidFill>
                  <a:srgbClr val="FFFFFF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6904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06080" y="6415201"/>
            <a:ext cx="4121280" cy="201600"/>
          </a:xfrm>
          <a:prstGeom prst="rect">
            <a:avLst/>
          </a:prstGeom>
        </p:spPr>
        <p:txBody>
          <a:bodyPr/>
          <a:lstStyle>
            <a:lvl1pPr>
              <a:defRPr>
                <a:latin typeface="EYInterstate Light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AU" b="1" dirty="0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01789" y="1389887"/>
            <a:ext cx="9969229" cy="4699299"/>
          </a:xfrm>
          <a:prstGeom prst="rect">
            <a:avLst/>
          </a:prstGeom>
        </p:spPr>
        <p:txBody>
          <a:bodyPr/>
          <a:lstStyle>
            <a:lvl1pPr marL="0" indent="0">
              <a:buFont typeface="Arial" pitchFamily="34" charset="0"/>
              <a:buNone/>
              <a:defRPr sz="1200"/>
            </a:lvl1pPr>
            <a:lvl2pPr marL="180975" indent="-180975">
              <a:buClr>
                <a:schemeClr val="tx2"/>
              </a:buClr>
              <a:buFont typeface="Arial" pitchFamily="34" charset="0"/>
              <a:buChar char="►"/>
              <a:defRPr sz="1200" b="0">
                <a:solidFill>
                  <a:schemeClr val="tx1"/>
                </a:solidFill>
              </a:defRPr>
            </a:lvl2pPr>
            <a:lvl3pPr marL="363538" indent="-188913">
              <a:buClr>
                <a:schemeClr val="tx2"/>
              </a:buClr>
              <a:defRPr sz="1200"/>
            </a:lvl3pPr>
            <a:lvl4pPr marL="536575" indent="-173038">
              <a:buClr>
                <a:schemeClr val="tx2"/>
              </a:buClr>
              <a:buFont typeface="Arial" pitchFamily="34" charset="0"/>
              <a:buChar char="►"/>
              <a:defRPr lang="en-US" sz="1200" dirty="0" smtClean="0">
                <a:solidFill>
                  <a:schemeClr val="tx1"/>
                </a:solidFill>
                <a:latin typeface="EYInterstate Light" pitchFamily="2" charset="0"/>
              </a:defRPr>
            </a:lvl4pPr>
            <a:lvl5pPr marL="542925" indent="-180975">
              <a:buClr>
                <a:schemeClr val="bg2"/>
              </a:buClr>
              <a:buFont typeface="Arial" pitchFamily="34" charset="0"/>
              <a:buChar char="►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03789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34903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8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24887" y="486275"/>
            <a:ext cx="9955545" cy="5771029"/>
          </a:xfrm>
          <a:prstGeom prst="rect">
            <a:avLst/>
          </a:prstGeom>
        </p:spPr>
      </p:pic>
      <p:sp>
        <p:nvSpPr>
          <p:cNvPr id="3" name="Freeform 6"/>
          <p:cNvSpPr>
            <a:spLocks/>
          </p:cNvSpPr>
          <p:nvPr userDrawn="1"/>
        </p:nvSpPr>
        <p:spPr bwMode="gray">
          <a:xfrm>
            <a:off x="553020" y="2019655"/>
            <a:ext cx="4857080" cy="2345289"/>
          </a:xfrm>
          <a:custGeom>
            <a:avLst/>
            <a:gdLst>
              <a:gd name="T0" fmla="*/ 0 w 10000"/>
              <a:gd name="T1" fmla="*/ 0 h 10025"/>
              <a:gd name="T2" fmla="*/ 2147483647 w 10000"/>
              <a:gd name="T3" fmla="*/ 0 h 10025"/>
              <a:gd name="T4" fmla="*/ 2147483647 w 10000"/>
              <a:gd name="T5" fmla="*/ 2147483647 h 10025"/>
              <a:gd name="T6" fmla="*/ 0 w 10000"/>
              <a:gd name="T7" fmla="*/ 2147483647 h 10025"/>
              <a:gd name="T8" fmla="*/ 0 w 10000"/>
              <a:gd name="T9" fmla="*/ 0 h 100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000" h="10025">
                <a:moveTo>
                  <a:pt x="0" y="0"/>
                </a:moveTo>
                <a:lnTo>
                  <a:pt x="10000" y="0"/>
                </a:lnTo>
                <a:lnTo>
                  <a:pt x="10000" y="6842"/>
                </a:lnTo>
                <a:lnTo>
                  <a:pt x="0" y="100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161" tIns="45578" rIns="91161" bIns="45578"/>
          <a:lstStyle/>
          <a:p>
            <a:pPr defTabSz="911225" fontAlgn="base">
              <a:spcBef>
                <a:spcPct val="0"/>
              </a:spcBef>
              <a:spcAft>
                <a:spcPct val="0"/>
              </a:spcAft>
            </a:pPr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55183" y="2646619"/>
            <a:ext cx="4623719" cy="77946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7882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48640" y="6356353"/>
            <a:ext cx="2560320" cy="365125"/>
          </a:xfrm>
          <a:prstGeom prst="rect">
            <a:avLst/>
          </a:prstGeom>
        </p:spPr>
        <p:txBody>
          <a:bodyPr/>
          <a:lstStyle/>
          <a:p>
            <a:fld id="{44E2BEAB-7AAF-4E5B-9A86-F5ECCF1BEBC8}" type="datetimeFigureOut">
              <a:rPr lang="en-US" smtClean="0">
                <a:solidFill>
                  <a:srgbClr val="000000"/>
                </a:solidFill>
              </a:rPr>
              <a:pPr/>
              <a:t>8/30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6356353"/>
            <a:ext cx="347472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863840" y="6356353"/>
            <a:ext cx="2560320" cy="365125"/>
          </a:xfrm>
          <a:prstGeom prst="rect">
            <a:avLst/>
          </a:prstGeom>
        </p:spPr>
        <p:txBody>
          <a:bodyPr/>
          <a:lstStyle/>
          <a:p>
            <a:fld id="{6501BFE9-D952-4D87-8AA5-73229CC0FEB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376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0544573"/>
              </p:ext>
            </p:extLst>
          </p:nvPr>
        </p:nvGraphicFramePr>
        <p:xfrm>
          <a:off x="1687" y="1512"/>
          <a:ext cx="1680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7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7" y="1512"/>
                        <a:ext cx="1680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" y="2604534"/>
            <a:ext cx="7245073" cy="194827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4514223"/>
            <a:ext cx="7222318" cy="234377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" y="1926269"/>
            <a:ext cx="6997141" cy="678264"/>
          </a:xfrm>
          <a:prstGeom prst="rect">
            <a:avLst/>
          </a:prstGeom>
          <a:solidFill>
            <a:srgbClr val="00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615" tIns="44615" rIns="44615" bIns="446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5534"/>
            <a:endParaRPr lang="en-GB" sz="1500" dirty="0" smtClea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1089" y="1127786"/>
            <a:ext cx="6507335" cy="628525"/>
          </a:xfrm>
          <a:prstGeom prst="rect">
            <a:avLst/>
          </a:prstGeom>
        </p:spPr>
        <p:txBody>
          <a:bodyPr lIns="0" tIns="43586" rIns="0" bIns="43586" anchor="b" anchorCtr="0">
            <a:noAutofit/>
          </a:bodyPr>
          <a:lstStyle>
            <a:lvl1pPr>
              <a:defRPr sz="3400" b="1">
                <a:solidFill>
                  <a:srgbClr val="009FDF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1084" y="2058904"/>
            <a:ext cx="6507336" cy="41300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l">
              <a:buNone/>
              <a:defRPr sz="2300">
                <a:solidFill>
                  <a:srgbClr val="FFFFFF"/>
                </a:solidFill>
              </a:defRPr>
            </a:lvl1pPr>
            <a:lvl2pPr marL="467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5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03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710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066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743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42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6997142" y="1899140"/>
            <a:ext cx="3926913" cy="4958862"/>
          </a:xfrm>
          <a:prstGeom prst="rect">
            <a:avLst/>
          </a:prstGeom>
          <a:solidFill>
            <a:srgbClr val="00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615" tIns="44615" rIns="44615" bIns="446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5534"/>
            <a:endParaRPr lang="en-GB" sz="1500" dirty="0" smtClean="0">
              <a:solidFill>
                <a:srgbClr val="FFFFFF"/>
              </a:solidFill>
            </a:endParaRPr>
          </a:p>
        </p:txBody>
      </p:sp>
      <p:sp>
        <p:nvSpPr>
          <p:cNvPr id="30" name="Subtitle 2"/>
          <p:cNvSpPr txBox="1">
            <a:spLocks/>
          </p:cNvSpPr>
          <p:nvPr userDrawn="1"/>
        </p:nvSpPr>
        <p:spPr>
          <a:xfrm>
            <a:off x="228321" y="6256000"/>
            <a:ext cx="6507336" cy="413003"/>
          </a:xfrm>
          <a:prstGeom prst="rect">
            <a:avLst/>
          </a:prstGeom>
        </p:spPr>
        <p:txBody>
          <a:bodyPr vert="horz" lIns="0" tIns="43586" rIns="0" bIns="43586" rtlCol="0" anchor="t" anchorCtr="0">
            <a:normAutofit/>
          </a:bodyPr>
          <a:lstStyle>
            <a:lvl1pPr marL="0" marR="0" indent="0" algn="l" defTabSz="981002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None/>
              <a:tabLst/>
              <a:defRPr kumimoji="0" lang="en-US" altLang="zh-CN" sz="24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  <a:lvl2pPr marL="490631" marR="0" indent="0" algn="ctr" defTabSz="98100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None/>
              <a:tabLst/>
              <a:defRPr lang="en-CA" altLang="zh-CN" sz="1600" kern="1200" baseline="0" noProof="1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981261" marR="0" indent="0" algn="ctr" defTabSz="981002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None/>
              <a:tabLst/>
              <a:defRPr lang="zh-CN" altLang="en-US" sz="1600" kern="1200" noProof="1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471892" marR="0" indent="0" algn="ctr" defTabSz="98126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None/>
              <a:tabLst/>
              <a:defRPr lang="en-CA" altLang="zh-CN"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962523" indent="0" algn="ctr" defTabSz="981261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5pPr>
            <a:lvl6pPr marL="2453154" indent="0" algn="ctr" defTabSz="981261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43784" indent="0" algn="ctr" defTabSz="981261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34414" indent="0" algn="ctr" defTabSz="981261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925045" indent="0" algn="ctr" defTabSz="981261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GB" sz="1900" b="1" dirty="0" smtClean="0"/>
              <a:t>Date</a:t>
            </a:r>
            <a:endParaRPr lang="en-GB" sz="1900" b="1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143" y="56421"/>
            <a:ext cx="3927321" cy="3520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289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159" y="134731"/>
            <a:ext cx="9379814" cy="854505"/>
          </a:xfrm>
        </p:spPr>
        <p:txBody>
          <a:bodyPr/>
          <a:lstStyle>
            <a:lvl1pPr>
              <a:defRPr sz="2300"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86066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31159" y="134731"/>
            <a:ext cx="9379814" cy="854505"/>
          </a:xfrm>
        </p:spPr>
        <p:txBody>
          <a:bodyPr/>
          <a:lstStyle>
            <a:lvl1pPr>
              <a:defRPr sz="2300"/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231160" y="1287064"/>
            <a:ext cx="10523695" cy="5092853"/>
          </a:xfrm>
        </p:spPr>
        <p:txBody>
          <a:bodyPr/>
          <a:lstStyle>
            <a:lvl1pPr>
              <a:lnSpc>
                <a:spcPct val="100000"/>
              </a:lnSpc>
              <a:spcBef>
                <a:spcPts val="572"/>
              </a:spcBef>
              <a:spcAft>
                <a:spcPts val="572"/>
              </a:spcAft>
              <a:defRPr/>
            </a:lvl1pPr>
            <a:lvl2pPr>
              <a:lnSpc>
                <a:spcPct val="100000"/>
              </a:lnSpc>
              <a:spcBef>
                <a:spcPts val="572"/>
              </a:spcBef>
              <a:spcAft>
                <a:spcPts val="572"/>
              </a:spcAft>
              <a:defRPr/>
            </a:lvl2pPr>
            <a:lvl3pPr>
              <a:lnSpc>
                <a:spcPct val="100000"/>
              </a:lnSpc>
              <a:spcBef>
                <a:spcPts val="572"/>
              </a:spcBef>
              <a:spcAft>
                <a:spcPts val="572"/>
              </a:spcAft>
              <a:defRPr/>
            </a:lvl3pPr>
            <a:lvl4pPr>
              <a:lnSpc>
                <a:spcPct val="100000"/>
              </a:lnSpc>
              <a:spcBef>
                <a:spcPts val="572"/>
              </a:spcBef>
              <a:spcAft>
                <a:spcPts val="572"/>
              </a:spcAft>
              <a:defRPr/>
            </a:lvl4pPr>
            <a:lvl5pPr>
              <a:lnSpc>
                <a:spcPct val="100000"/>
              </a:lnSpc>
              <a:spcBef>
                <a:spcPts val="572"/>
              </a:spcBef>
              <a:spcAft>
                <a:spcPts val="572"/>
              </a:spcAft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5955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231165" y="1287062"/>
            <a:ext cx="10510481" cy="5095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15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57399" lvl="0" indent="-258794" algn="l" defTabSz="935287" rtl="0" eaLnBrk="1" fontAlgn="base" latinLnBrk="0" hangingPunct="1">
              <a:lnSpc>
                <a:spcPct val="150000"/>
              </a:lnSpc>
              <a:spcBef>
                <a:spcPts val="572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31159" y="134731"/>
            <a:ext cx="9379814" cy="854505"/>
          </a:xfrm>
        </p:spPr>
        <p:txBody>
          <a:bodyPr/>
          <a:lstStyle>
            <a:lvl1pPr>
              <a:defRPr sz="2300"/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1321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287" y="1549088"/>
            <a:ext cx="4194226" cy="375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2588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263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3221" y="1330910"/>
            <a:ext cx="7902168" cy="621695"/>
          </a:xfrm>
        </p:spPr>
        <p:txBody>
          <a:bodyPr wrap="non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1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QUIAEPERSPE NECTECAE NIM </a:t>
            </a:r>
            <a:br>
              <a:rPr lang="en-US" dirty="0" smtClean="0"/>
            </a:br>
            <a:r>
              <a:rPr lang="en-US" dirty="0" smtClean="0"/>
              <a:t>IN CUS AUT HARUM 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93223" y="1963615"/>
            <a:ext cx="6052628" cy="804558"/>
          </a:xfrm>
        </p:spPr>
        <p:txBody>
          <a:bodyPr wrap="none" lIns="0" tIns="0" rIns="0" bIns="0" anchor="t" anchorCtr="0">
            <a:normAutofit/>
          </a:bodyPr>
          <a:lstStyle>
            <a:lvl1pPr marL="0" indent="0">
              <a:lnSpc>
                <a:spcPct val="90000"/>
              </a:lnSpc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FACIENDITI SUM DOLORRO </a:t>
            </a:r>
            <a:br>
              <a:rPr lang="en-US" dirty="0" smtClean="0"/>
            </a:br>
            <a:r>
              <a:rPr lang="en-US" dirty="0" smtClean="0"/>
              <a:t>REHENIH ILICIEN IHICIDE</a:t>
            </a:r>
            <a:endParaRPr lang="en-US" dirty="0"/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893223" y="3139607"/>
            <a:ext cx="6052628" cy="273442"/>
          </a:xfrm>
        </p:spPr>
        <p:txBody>
          <a:bodyPr wrap="none" lIns="0" tIns="0" rIns="0" bIns="0" anchor="ctr" anchorCtr="0">
            <a:normAutofit/>
          </a:bodyPr>
          <a:lstStyle>
            <a:lvl1pPr marL="0" indent="0">
              <a:lnSpc>
                <a:spcPct val="90000"/>
              </a:lnSpc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FACIENDITI SUM DOLORRO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7731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6777" y="2302370"/>
            <a:ext cx="9326880" cy="1147832"/>
          </a:xfrm>
        </p:spPr>
        <p:txBody>
          <a:bodyPr anchor="t">
            <a:noAutofit/>
          </a:bodyPr>
          <a:lstStyle>
            <a:lvl1pPr algn="l">
              <a:defRPr sz="1600" b="0" i="0" cap="none">
                <a:solidFill>
                  <a:srgbClr val="3D9AD7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Tem </a:t>
            </a:r>
            <a:r>
              <a:rPr lang="en-US" dirty="0" err="1" smtClean="0"/>
              <a:t>dolupta</a:t>
            </a:r>
            <a:r>
              <a:rPr lang="en-US" dirty="0" smtClean="0"/>
              <a:t> </a:t>
            </a:r>
            <a:r>
              <a:rPr lang="en-US" dirty="0" err="1" smtClean="0"/>
              <a:t>turisqu</a:t>
            </a:r>
            <a:r>
              <a:rPr lang="en-US" dirty="0" smtClean="0"/>
              <a:t> </a:t>
            </a:r>
            <a:r>
              <a:rPr lang="en-US" dirty="0" err="1" smtClean="0"/>
              <a:t>issunt</a:t>
            </a:r>
            <a:r>
              <a:rPr lang="en-US" dirty="0" smtClean="0"/>
              <a:t> </a:t>
            </a:r>
            <a:r>
              <a:rPr lang="en-US" dirty="0" err="1" smtClean="0"/>
              <a:t>laborem</a:t>
            </a:r>
            <a:r>
              <a:rPr lang="en-US" dirty="0" smtClean="0"/>
              <a:t> </a:t>
            </a:r>
            <a:r>
              <a:rPr lang="en-US" dirty="0" err="1" smtClean="0"/>
              <a:t>quodit</a:t>
            </a:r>
            <a:r>
              <a:rPr lang="en-US" dirty="0" smtClean="0"/>
              <a:t> am, </a:t>
            </a:r>
            <a:r>
              <a:rPr lang="en-US" dirty="0" err="1" smtClean="0"/>
              <a:t>quate</a:t>
            </a:r>
            <a:r>
              <a:rPr lang="en-US" dirty="0" smtClean="0"/>
              <a:t> </a:t>
            </a:r>
            <a:r>
              <a:rPr lang="en-US" dirty="0" err="1" smtClean="0"/>
              <a:t>maiorepudam</a:t>
            </a:r>
            <a:r>
              <a:rPr lang="en-US" dirty="0" smtClean="0"/>
              <a:t> </a:t>
            </a:r>
            <a:r>
              <a:rPr lang="en-US" dirty="0" err="1" smtClean="0"/>
              <a:t>exernatis</a:t>
            </a:r>
            <a:r>
              <a:rPr lang="en-US" dirty="0" smtClean="0"/>
              <a:t> con </a:t>
            </a:r>
            <a:r>
              <a:rPr lang="en-US" dirty="0" err="1" smtClean="0"/>
              <a:t>nonsequ</a:t>
            </a:r>
            <a:r>
              <a:rPr lang="en-US" dirty="0" smtClean="0"/>
              <a:t> </a:t>
            </a:r>
            <a:r>
              <a:rPr lang="en-US" dirty="0" err="1" smtClean="0"/>
              <a:t>atquaecta</a:t>
            </a:r>
            <a:r>
              <a:rPr lang="en-US" dirty="0" smtClean="0"/>
              <a:t> </a:t>
            </a:r>
            <a:r>
              <a:rPr lang="en-US" dirty="0" err="1" smtClean="0"/>
              <a:t>dolut</a:t>
            </a:r>
            <a:r>
              <a:rPr lang="en-US" dirty="0" smtClean="0"/>
              <a:t> </a:t>
            </a:r>
            <a:r>
              <a:rPr lang="en-US" dirty="0" err="1" smtClean="0"/>
              <a:t>exero</a:t>
            </a:r>
            <a:r>
              <a:rPr lang="en-US" dirty="0" smtClean="0"/>
              <a:t> </a:t>
            </a:r>
            <a:r>
              <a:rPr lang="en-US" dirty="0" err="1" smtClean="0"/>
              <a:t>venis</a:t>
            </a:r>
            <a:r>
              <a:rPr lang="en-US" dirty="0" smtClean="0"/>
              <a:t> </a:t>
            </a:r>
            <a:r>
              <a:rPr lang="en-US" dirty="0" err="1" smtClean="0"/>
              <a:t>exernat</a:t>
            </a:r>
            <a:r>
              <a:rPr lang="en-US" dirty="0" smtClean="0"/>
              <a:t> </a:t>
            </a:r>
            <a:r>
              <a:rPr lang="en-US" dirty="0" err="1" smtClean="0"/>
              <a:t>entibus</a:t>
            </a:r>
            <a:r>
              <a:rPr lang="en-US" dirty="0" smtClean="0"/>
              <a:t> </a:t>
            </a:r>
            <a:r>
              <a:rPr lang="en-US" dirty="0" err="1" smtClean="0"/>
              <a:t>quodi</a:t>
            </a:r>
            <a:r>
              <a:rPr lang="en-US" dirty="0" smtClean="0"/>
              <a:t> </a:t>
            </a:r>
            <a:r>
              <a:rPr lang="en-US" dirty="0" err="1" smtClean="0"/>
              <a:t>opta</a:t>
            </a:r>
            <a:r>
              <a:rPr lang="en-US" dirty="0" smtClean="0"/>
              <a:t> </a:t>
            </a:r>
            <a:r>
              <a:rPr lang="en-US" dirty="0" err="1" smtClean="0"/>
              <a:t>simusam</a:t>
            </a:r>
            <a:r>
              <a:rPr lang="en-US" dirty="0" smtClean="0"/>
              <a:t>, </a:t>
            </a:r>
            <a:r>
              <a:rPr lang="en-US" err="1" smtClean="0"/>
              <a:t>auditem</a:t>
            </a:r>
            <a:r>
              <a:rPr lang="en-US" smtClean="0"/>
              <a:t> ea </a:t>
            </a:r>
            <a:r>
              <a:rPr lang="en-US" dirty="0" err="1" smtClean="0"/>
              <a:t>dio</a:t>
            </a:r>
            <a:r>
              <a:rPr lang="en-US" dirty="0" smtClean="0"/>
              <a:t>. Cores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reroribus</a:t>
            </a:r>
            <a:r>
              <a:rPr lang="en-US" dirty="0" smtClean="0"/>
              <a:t> </a:t>
            </a:r>
            <a:r>
              <a:rPr lang="en-US" dirty="0" err="1" smtClean="0"/>
              <a:t>magnatem</a:t>
            </a:r>
            <a:r>
              <a:rPr lang="en-US" dirty="0" smtClean="0"/>
              <a:t> </a:t>
            </a:r>
            <a:r>
              <a:rPr lang="en-US" dirty="0" err="1" smtClean="0"/>
              <a:t>aut</a:t>
            </a:r>
            <a:r>
              <a:rPr lang="en-US" dirty="0" smtClean="0"/>
              <a:t> </a:t>
            </a:r>
            <a:r>
              <a:rPr lang="en-US" dirty="0" err="1" smtClean="0"/>
              <a:t>exerepu</a:t>
            </a:r>
            <a:r>
              <a:rPr lang="en-US" dirty="0" smtClean="0"/>
              <a:t> </a:t>
            </a:r>
            <a:r>
              <a:rPr lang="en-US" dirty="0" err="1" smtClean="0"/>
              <a:t>dipsum</a:t>
            </a:r>
            <a:r>
              <a:rPr lang="en-US" dirty="0" smtClean="0"/>
              <a:t> </a:t>
            </a:r>
            <a:r>
              <a:rPr lang="en-US" dirty="0" err="1" smtClean="0"/>
              <a:t>voluptas</a:t>
            </a:r>
            <a:r>
              <a:rPr lang="en-US" dirty="0" smtClean="0"/>
              <a:t> </a:t>
            </a:r>
            <a:r>
              <a:rPr lang="en-US" dirty="0" err="1" smtClean="0"/>
              <a:t>apidebis</a:t>
            </a:r>
            <a:r>
              <a:rPr lang="en-US" dirty="0" smtClean="0"/>
              <a:t> </a:t>
            </a:r>
            <a:r>
              <a:rPr lang="en-US" dirty="0" err="1" smtClean="0"/>
              <a:t>etusandis</a:t>
            </a:r>
            <a:r>
              <a:rPr lang="en-US" dirty="0" smtClean="0"/>
              <a:t> doles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sequo</a:t>
            </a:r>
            <a:r>
              <a:rPr lang="en-US" dirty="0" smtClean="0"/>
              <a:t> </a:t>
            </a:r>
            <a:r>
              <a:rPr lang="en-US" dirty="0" err="1" smtClean="0"/>
              <a:t>essit</a:t>
            </a:r>
            <a:r>
              <a:rPr lang="en-US" dirty="0" smtClean="0"/>
              <a:t> </a:t>
            </a:r>
            <a:r>
              <a:rPr lang="en-US" dirty="0" err="1" smtClean="0"/>
              <a:t>moloria</a:t>
            </a:r>
            <a:r>
              <a:rPr lang="en-US" dirty="0" smtClean="0"/>
              <a:t> </a:t>
            </a:r>
            <a:r>
              <a:rPr lang="en-US" dirty="0" err="1" smtClean="0"/>
              <a:t>dolesequi</a:t>
            </a:r>
            <a:r>
              <a:rPr lang="en-US" dirty="0" smtClean="0"/>
              <a:t> </a:t>
            </a:r>
            <a:r>
              <a:rPr lang="en-US" dirty="0" err="1" smtClean="0"/>
              <a:t>blaut</a:t>
            </a:r>
            <a:r>
              <a:rPr lang="en-US" dirty="0" smtClean="0"/>
              <a:t> </a:t>
            </a:r>
            <a:r>
              <a:rPr lang="en-US" dirty="0" err="1" smtClean="0"/>
              <a:t>aliatib</a:t>
            </a:r>
            <a:r>
              <a:rPr lang="en-US" dirty="0" smtClean="0"/>
              <a:t> </a:t>
            </a:r>
            <a:r>
              <a:rPr lang="en-US" dirty="0" err="1" smtClean="0"/>
              <a:t>usciasp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66777" y="1289497"/>
            <a:ext cx="9326880" cy="902129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651355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30271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5406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60542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5677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90813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594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21084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QUIAEPERSPE NECTECAE NIM IN </a:t>
            </a:r>
          </a:p>
          <a:p>
            <a:pPr lvl="0"/>
            <a:r>
              <a:rPr lang="en-US" dirty="0" smtClean="0"/>
              <a:t>CUS AUT HARU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66735" y="3549393"/>
            <a:ext cx="9326410" cy="2755028"/>
          </a:xfrm>
        </p:spPr>
        <p:txBody>
          <a:bodyPr>
            <a:normAutofit/>
          </a:bodyPr>
          <a:lstStyle>
            <a:lvl1pPr marL="0" indent="0">
              <a:buNone/>
              <a:defRPr sz="1300"/>
            </a:lvl1pPr>
          </a:lstStyle>
          <a:p>
            <a:pPr lvl="0"/>
            <a:r>
              <a:rPr lang="en-US" dirty="0" err="1" smtClean="0"/>
              <a:t>Nullaciundi</a:t>
            </a:r>
            <a:r>
              <a:rPr lang="en-US" dirty="0" smtClean="0"/>
              <a:t> </a:t>
            </a:r>
            <a:r>
              <a:rPr lang="en-US" dirty="0" err="1" smtClean="0"/>
              <a:t>autae</a:t>
            </a:r>
            <a:r>
              <a:rPr lang="en-US" dirty="0" smtClean="0"/>
              <a:t> </a:t>
            </a:r>
            <a:r>
              <a:rPr lang="en-US" dirty="0" err="1" smtClean="0"/>
              <a:t>pelia</a:t>
            </a:r>
            <a:r>
              <a:rPr lang="en-US" dirty="0" smtClean="0"/>
              <a:t> con </a:t>
            </a:r>
            <a:r>
              <a:rPr lang="en-US" dirty="0" err="1" smtClean="0"/>
              <a:t>exped</a:t>
            </a:r>
            <a:r>
              <a:rPr lang="en-US" dirty="0" smtClean="0"/>
              <a:t> et </a:t>
            </a:r>
            <a:r>
              <a:rPr lang="en-US" dirty="0" err="1" smtClean="0"/>
              <a:t>pe</a:t>
            </a:r>
            <a:r>
              <a:rPr lang="en-US" dirty="0" smtClean="0"/>
              <a:t> </a:t>
            </a:r>
            <a:r>
              <a:rPr lang="en-US" dirty="0" err="1" smtClean="0"/>
              <a:t>pe</a:t>
            </a:r>
            <a:r>
              <a:rPr lang="en-US" dirty="0" smtClean="0"/>
              <a:t> </a:t>
            </a:r>
            <a:r>
              <a:rPr lang="en-US" dirty="0" err="1" smtClean="0"/>
              <a:t>sanda</a:t>
            </a:r>
            <a:r>
              <a:rPr lang="en-US" dirty="0" smtClean="0"/>
              <a:t> et </a:t>
            </a:r>
            <a:r>
              <a:rPr lang="en-US" dirty="0" err="1" smtClean="0"/>
              <a:t>quiatemquo</a:t>
            </a:r>
            <a:r>
              <a:rPr lang="en-US" dirty="0" smtClean="0"/>
              <a:t> </a:t>
            </a:r>
            <a:r>
              <a:rPr lang="en-US" dirty="0" err="1" smtClean="0"/>
              <a:t>tempeditasi</a:t>
            </a:r>
            <a:r>
              <a:rPr lang="en-US" dirty="0" smtClean="0"/>
              <a:t> </a:t>
            </a:r>
            <a:r>
              <a:rPr lang="en-US" dirty="0" err="1" smtClean="0"/>
              <a:t>ditem</a:t>
            </a:r>
            <a:r>
              <a:rPr lang="en-US" dirty="0" smtClean="0"/>
              <a:t> quam </a:t>
            </a:r>
            <a:r>
              <a:rPr lang="en-US" dirty="0" err="1" smtClean="0"/>
              <a:t>eaquisi</a:t>
            </a:r>
            <a:r>
              <a:rPr lang="en-US" dirty="0" smtClean="0"/>
              <a:t> </a:t>
            </a:r>
            <a:r>
              <a:rPr lang="en-US" dirty="0" err="1" smtClean="0"/>
              <a:t>quia</a:t>
            </a:r>
            <a:r>
              <a:rPr lang="en-US" dirty="0" smtClean="0"/>
              <a:t> </a:t>
            </a:r>
            <a:r>
              <a:rPr lang="en-US" dirty="0" err="1" smtClean="0"/>
              <a:t>enihillab</a:t>
            </a:r>
            <a:r>
              <a:rPr lang="en-US" dirty="0" smtClean="0"/>
              <a:t> </a:t>
            </a:r>
            <a:r>
              <a:rPr lang="en-US" dirty="0" err="1" smtClean="0"/>
              <a:t>iurenim</a:t>
            </a:r>
            <a:r>
              <a:rPr lang="en-US" dirty="0" smtClean="0"/>
              <a:t> </a:t>
            </a:r>
            <a:r>
              <a:rPr lang="en-US" dirty="0" err="1" smtClean="0"/>
              <a:t>facessi</a:t>
            </a:r>
            <a:r>
              <a:rPr lang="en-US" dirty="0" smtClean="0"/>
              <a:t> </a:t>
            </a:r>
            <a:r>
              <a:rPr lang="en-US" dirty="0" err="1" smtClean="0"/>
              <a:t>optaepelesti</a:t>
            </a:r>
            <a:r>
              <a:rPr lang="en-US" dirty="0" smtClean="0"/>
              <a:t> non </a:t>
            </a:r>
            <a:r>
              <a:rPr lang="en-US" dirty="0" err="1" smtClean="0"/>
              <a:t>perum</a:t>
            </a:r>
            <a:r>
              <a:rPr lang="en-US" dirty="0" smtClean="0"/>
              <a:t> </a:t>
            </a:r>
            <a:r>
              <a:rPr lang="en-US" dirty="0" err="1" smtClean="0"/>
              <a:t>illuptam</a:t>
            </a:r>
            <a:r>
              <a:rPr lang="en-US" dirty="0" smtClean="0"/>
              <a:t> et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quiata</a:t>
            </a:r>
            <a:r>
              <a:rPr lang="en-US" dirty="0" smtClean="0"/>
              <a:t> </a:t>
            </a:r>
            <a:r>
              <a:rPr lang="en-US" dirty="0" err="1" smtClean="0"/>
              <a:t>aut</a:t>
            </a:r>
            <a:r>
              <a:rPr lang="en-US" dirty="0" smtClean="0"/>
              <a:t> </a:t>
            </a:r>
            <a:r>
              <a:rPr lang="en-US" dirty="0" err="1" smtClean="0"/>
              <a:t>videlec</a:t>
            </a:r>
            <a:r>
              <a:rPr lang="en-US" dirty="0" smtClean="0"/>
              <a:t> </a:t>
            </a:r>
            <a:r>
              <a:rPr lang="en-US" dirty="0" err="1" smtClean="0"/>
              <a:t>uptatiae</a:t>
            </a:r>
            <a:r>
              <a:rPr lang="en-US" dirty="0" smtClean="0"/>
              <a:t> lam quam et </a:t>
            </a:r>
            <a:r>
              <a:rPr lang="en-US" dirty="0" err="1" smtClean="0"/>
              <a:t>verum</a:t>
            </a:r>
            <a:r>
              <a:rPr lang="en-US" dirty="0" smtClean="0"/>
              <a:t> </a:t>
            </a:r>
            <a:r>
              <a:rPr lang="en-US" dirty="0" err="1" smtClean="0"/>
              <a:t>int</a:t>
            </a:r>
            <a:r>
              <a:rPr lang="en-US" dirty="0" smtClean="0"/>
              <a:t>, </a:t>
            </a:r>
            <a:r>
              <a:rPr lang="en-US" dirty="0" err="1" smtClean="0"/>
              <a:t>quas</a:t>
            </a:r>
            <a:r>
              <a:rPr lang="en-US" dirty="0" smtClean="0"/>
              <a:t> </a:t>
            </a:r>
            <a:r>
              <a:rPr lang="en-US" dirty="0" err="1" smtClean="0"/>
              <a:t>nimi</a:t>
            </a:r>
            <a:r>
              <a:rPr lang="en-US" dirty="0" smtClean="0"/>
              <a:t>, </a:t>
            </a:r>
            <a:r>
              <a:rPr lang="en-US" dirty="0" err="1" smtClean="0"/>
              <a:t>te</a:t>
            </a:r>
            <a:r>
              <a:rPr lang="en-US" dirty="0" smtClean="0"/>
              <a:t> et qui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ccaboris</a:t>
            </a:r>
            <a:r>
              <a:rPr lang="en-US" dirty="0" smtClean="0"/>
              <a:t> </a:t>
            </a:r>
            <a:r>
              <a:rPr lang="en-US" dirty="0" err="1" smtClean="0"/>
              <a:t>excea</a:t>
            </a:r>
            <a:r>
              <a:rPr lang="en-US" dirty="0" smtClean="0"/>
              <a:t> con </a:t>
            </a:r>
            <a:r>
              <a:rPr lang="en-US" dirty="0" err="1" smtClean="0"/>
              <a:t>nis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cea</a:t>
            </a:r>
            <a:r>
              <a:rPr lang="en-US" dirty="0" smtClean="0"/>
              <a:t> </a:t>
            </a:r>
            <a:r>
              <a:rPr lang="en-US" dirty="0" err="1" smtClean="0"/>
              <a:t>nonsequae</a:t>
            </a:r>
            <a:r>
              <a:rPr lang="en-US" dirty="0" smtClean="0"/>
              <a:t> </a:t>
            </a:r>
            <a:r>
              <a:rPr lang="en-US" dirty="0" err="1" smtClean="0"/>
              <a:t>lique</a:t>
            </a:r>
            <a:r>
              <a:rPr lang="en-US" dirty="0" smtClean="0"/>
              <a:t> </a:t>
            </a:r>
            <a:r>
              <a:rPr lang="en-US" dirty="0" err="1" smtClean="0"/>
              <a:t>solenis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intur</a:t>
            </a:r>
            <a:r>
              <a:rPr lang="en-US" dirty="0" smtClean="0"/>
              <a:t> </a:t>
            </a:r>
            <a:r>
              <a:rPr lang="en-US" dirty="0" err="1" smtClean="0"/>
              <a:t>sinveni</a:t>
            </a:r>
            <a:r>
              <a:rPr lang="en-US" dirty="0" smtClean="0"/>
              <a:t> </a:t>
            </a:r>
            <a:r>
              <a:rPr lang="en-US" dirty="0" err="1" smtClean="0"/>
              <a:t>dolum</a:t>
            </a:r>
            <a:r>
              <a:rPr lang="en-US" dirty="0" smtClean="0"/>
              <a:t> </a:t>
            </a:r>
            <a:r>
              <a:rPr lang="en-US" dirty="0" err="1" smtClean="0"/>
              <a:t>aliasperspit</a:t>
            </a:r>
            <a:r>
              <a:rPr lang="en-US" dirty="0" smtClean="0"/>
              <a:t>.</a:t>
            </a:r>
          </a:p>
          <a:p>
            <a:pPr lvl="0"/>
            <a:endParaRPr lang="en-US" dirty="0" smtClean="0"/>
          </a:p>
          <a:p>
            <a:pPr lvl="0"/>
            <a:r>
              <a:rPr lang="en-US" dirty="0" err="1" smtClean="0"/>
              <a:t>Enihillab</a:t>
            </a:r>
            <a:r>
              <a:rPr lang="en-US" dirty="0" smtClean="0"/>
              <a:t> </a:t>
            </a:r>
            <a:r>
              <a:rPr lang="en-US" dirty="0" err="1" smtClean="0"/>
              <a:t>iurenim</a:t>
            </a:r>
            <a:r>
              <a:rPr lang="en-US" dirty="0" smtClean="0"/>
              <a:t> </a:t>
            </a:r>
            <a:r>
              <a:rPr lang="en-US" dirty="0" err="1" smtClean="0"/>
              <a:t>facessi</a:t>
            </a:r>
            <a:r>
              <a:rPr lang="en-US" dirty="0" smtClean="0"/>
              <a:t> </a:t>
            </a:r>
            <a:r>
              <a:rPr lang="en-US" dirty="0" err="1" smtClean="0"/>
              <a:t>optaepelesti</a:t>
            </a:r>
            <a:r>
              <a:rPr lang="en-US" dirty="0" smtClean="0"/>
              <a:t> non </a:t>
            </a:r>
            <a:r>
              <a:rPr lang="en-US" dirty="0" err="1" smtClean="0"/>
              <a:t>perum</a:t>
            </a:r>
            <a:r>
              <a:rPr lang="en-US" dirty="0" smtClean="0"/>
              <a:t> </a:t>
            </a:r>
            <a:r>
              <a:rPr lang="en-US" dirty="0" err="1" smtClean="0"/>
              <a:t>illuptam</a:t>
            </a:r>
            <a:r>
              <a:rPr lang="en-US" dirty="0" smtClean="0"/>
              <a:t> et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quiata</a:t>
            </a:r>
            <a:r>
              <a:rPr lang="en-US" dirty="0" smtClean="0"/>
              <a:t> </a:t>
            </a:r>
            <a:r>
              <a:rPr lang="en-US" dirty="0" err="1" smtClean="0"/>
              <a:t>aut</a:t>
            </a:r>
            <a:r>
              <a:rPr lang="en-US" dirty="0" smtClean="0"/>
              <a:t> </a:t>
            </a:r>
            <a:r>
              <a:rPr lang="en-US" dirty="0" err="1" smtClean="0"/>
              <a:t>videlec</a:t>
            </a:r>
            <a:r>
              <a:rPr lang="en-US" dirty="0" smtClean="0"/>
              <a:t> </a:t>
            </a:r>
            <a:r>
              <a:rPr lang="en-US" dirty="0" err="1" smtClean="0"/>
              <a:t>uptatiae</a:t>
            </a:r>
            <a:r>
              <a:rPr lang="en-US" dirty="0" smtClean="0"/>
              <a:t> lam quam et </a:t>
            </a:r>
            <a:r>
              <a:rPr lang="en-US" dirty="0" err="1" smtClean="0"/>
              <a:t>verum</a:t>
            </a:r>
            <a:r>
              <a:rPr lang="en-US" dirty="0" smtClean="0"/>
              <a:t> </a:t>
            </a:r>
            <a:r>
              <a:rPr lang="en-US" dirty="0" err="1" smtClean="0"/>
              <a:t>int</a:t>
            </a:r>
            <a:r>
              <a:rPr lang="en-US" dirty="0" smtClean="0"/>
              <a:t>, </a:t>
            </a:r>
            <a:r>
              <a:rPr lang="en-US" dirty="0" err="1" smtClean="0"/>
              <a:t>quas</a:t>
            </a:r>
            <a:r>
              <a:rPr lang="en-US" dirty="0" smtClean="0"/>
              <a:t> </a:t>
            </a:r>
            <a:r>
              <a:rPr lang="en-US" dirty="0" err="1" smtClean="0"/>
              <a:t>nimi</a:t>
            </a:r>
            <a:r>
              <a:rPr lang="en-US" dirty="0" smtClean="0"/>
              <a:t>, </a:t>
            </a:r>
            <a:r>
              <a:rPr lang="en-US" dirty="0" err="1" smtClean="0"/>
              <a:t>te</a:t>
            </a:r>
            <a:r>
              <a:rPr lang="en-US" dirty="0" smtClean="0"/>
              <a:t> et qui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ccaboris</a:t>
            </a:r>
            <a:r>
              <a:rPr lang="en-US" dirty="0" smtClean="0"/>
              <a:t> </a:t>
            </a:r>
            <a:r>
              <a:rPr lang="en-US" dirty="0" err="1" smtClean="0"/>
              <a:t>excea</a:t>
            </a:r>
            <a:r>
              <a:rPr lang="en-US" dirty="0" smtClean="0"/>
              <a:t> con </a:t>
            </a:r>
            <a:r>
              <a:rPr lang="en-US" dirty="0" err="1" smtClean="0"/>
              <a:t>nis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cea</a:t>
            </a:r>
            <a:r>
              <a:rPr lang="en-US" dirty="0" smtClean="0"/>
              <a:t> </a:t>
            </a:r>
            <a:r>
              <a:rPr lang="en-US" dirty="0" err="1" smtClean="0"/>
              <a:t>nonsequae</a:t>
            </a:r>
            <a:r>
              <a:rPr lang="en-US" dirty="0" smtClean="0"/>
              <a:t> </a:t>
            </a:r>
            <a:r>
              <a:rPr lang="en-US" dirty="0" err="1" smtClean="0"/>
              <a:t>lique</a:t>
            </a:r>
            <a:r>
              <a:rPr lang="en-US" dirty="0" smtClean="0"/>
              <a:t> </a:t>
            </a:r>
            <a:r>
              <a:rPr lang="en-US" dirty="0" err="1" smtClean="0"/>
              <a:t>solenis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intur</a:t>
            </a:r>
            <a:r>
              <a:rPr lang="en-US" dirty="0" smtClean="0"/>
              <a:t> </a:t>
            </a:r>
            <a:r>
              <a:rPr lang="en-US" dirty="0" err="1" smtClean="0"/>
              <a:t>sinveni</a:t>
            </a:r>
            <a:r>
              <a:rPr lang="en-US" dirty="0" smtClean="0"/>
              <a:t> </a:t>
            </a:r>
            <a:r>
              <a:rPr lang="en-US" dirty="0" err="1" smtClean="0"/>
              <a:t>vella</a:t>
            </a:r>
            <a:r>
              <a:rPr lang="en-US" dirty="0" smtClean="0"/>
              <a:t> </a:t>
            </a:r>
            <a:r>
              <a:rPr lang="en-US" dirty="0" err="1" smtClean="0"/>
              <a:t>cuptaque</a:t>
            </a:r>
            <a:r>
              <a:rPr lang="en-US" dirty="0" smtClean="0"/>
              <a:t> di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rerehentet</a:t>
            </a:r>
            <a:r>
              <a:rPr lang="en-US" dirty="0" smtClean="0"/>
              <a:t> </a:t>
            </a:r>
            <a:r>
              <a:rPr lang="en-US" dirty="0" err="1" smtClean="0"/>
              <a:t>landici</a:t>
            </a:r>
            <a:r>
              <a:rPr lang="en-US" dirty="0" smtClean="0"/>
              <a:t> </a:t>
            </a:r>
            <a:r>
              <a:rPr lang="en-US" dirty="0" err="1" smtClean="0"/>
              <a:t>soluptatur</a:t>
            </a:r>
            <a:r>
              <a:rPr lang="en-US" dirty="0" smtClean="0"/>
              <a:t> </a:t>
            </a:r>
            <a:r>
              <a:rPr lang="en-US" dirty="0" err="1" smtClean="0"/>
              <a:t>si</a:t>
            </a:r>
            <a:r>
              <a:rPr lang="en-US" dirty="0" smtClean="0"/>
              <a:t> </a:t>
            </a:r>
            <a:r>
              <a:rPr lang="en-US" dirty="0" err="1" smtClean="0"/>
              <a:t>commos</a:t>
            </a:r>
            <a:r>
              <a:rPr lang="en-US" dirty="0" smtClean="0"/>
              <a:t> </a:t>
            </a:r>
            <a:r>
              <a:rPr lang="en-US" dirty="0" err="1" smtClean="0"/>
              <a:t>delessit</a:t>
            </a:r>
            <a:r>
              <a:rPr lang="en-US" dirty="0" smtClean="0"/>
              <a:t>, </a:t>
            </a:r>
            <a:r>
              <a:rPr lang="en-US" dirty="0" err="1" smtClean="0"/>
              <a:t>vero</a:t>
            </a:r>
            <a:r>
              <a:rPr lang="en-US" dirty="0" smtClean="0"/>
              <a:t>.</a:t>
            </a:r>
          </a:p>
          <a:p>
            <a:pPr lvl="0"/>
            <a:endParaRPr lang="en-US" dirty="0" smtClean="0"/>
          </a:p>
          <a:p>
            <a:pPr lvl="0"/>
            <a:r>
              <a:rPr lang="en-US" dirty="0" err="1" smtClean="0"/>
              <a:t>Nullaciundi</a:t>
            </a:r>
            <a:r>
              <a:rPr lang="en-US" dirty="0" smtClean="0"/>
              <a:t> </a:t>
            </a:r>
            <a:r>
              <a:rPr lang="en-US" dirty="0" err="1" smtClean="0"/>
              <a:t>autae</a:t>
            </a:r>
            <a:r>
              <a:rPr lang="en-US" dirty="0" smtClean="0"/>
              <a:t> </a:t>
            </a:r>
            <a:r>
              <a:rPr lang="en-US" dirty="0" err="1" smtClean="0"/>
              <a:t>pelia</a:t>
            </a:r>
            <a:r>
              <a:rPr lang="en-US" dirty="0" smtClean="0"/>
              <a:t> con </a:t>
            </a:r>
            <a:r>
              <a:rPr lang="en-US" dirty="0" err="1" smtClean="0"/>
              <a:t>exped</a:t>
            </a:r>
            <a:r>
              <a:rPr lang="en-US" dirty="0" smtClean="0"/>
              <a:t> et </a:t>
            </a:r>
            <a:r>
              <a:rPr lang="en-US" dirty="0" err="1" smtClean="0"/>
              <a:t>pe</a:t>
            </a:r>
            <a:r>
              <a:rPr lang="en-US" dirty="0" smtClean="0"/>
              <a:t> </a:t>
            </a:r>
            <a:r>
              <a:rPr lang="en-US" dirty="0" err="1" smtClean="0"/>
              <a:t>pe</a:t>
            </a:r>
            <a:r>
              <a:rPr lang="en-US" dirty="0" smtClean="0"/>
              <a:t> </a:t>
            </a:r>
            <a:r>
              <a:rPr lang="en-US" dirty="0" err="1" smtClean="0"/>
              <a:t>sanda</a:t>
            </a:r>
            <a:r>
              <a:rPr lang="en-US" dirty="0" smtClean="0"/>
              <a:t> et </a:t>
            </a:r>
            <a:r>
              <a:rPr lang="en-US" dirty="0" err="1" smtClean="0"/>
              <a:t>quiatemquo</a:t>
            </a:r>
            <a:r>
              <a:rPr lang="en-US" dirty="0" smtClean="0"/>
              <a:t> </a:t>
            </a:r>
            <a:r>
              <a:rPr lang="en-US" dirty="0" err="1" smtClean="0"/>
              <a:t>tempeditasi</a:t>
            </a:r>
            <a:r>
              <a:rPr lang="en-US" dirty="0" smtClean="0"/>
              <a:t> </a:t>
            </a:r>
            <a:r>
              <a:rPr lang="en-US" dirty="0" err="1" smtClean="0"/>
              <a:t>ditem</a:t>
            </a:r>
            <a:r>
              <a:rPr lang="en-US" dirty="0" smtClean="0"/>
              <a:t> quam </a:t>
            </a:r>
            <a:r>
              <a:rPr lang="en-US" dirty="0" err="1" smtClean="0"/>
              <a:t>eaquisi</a:t>
            </a:r>
            <a:r>
              <a:rPr lang="en-US" dirty="0" smtClean="0"/>
              <a:t> </a:t>
            </a:r>
            <a:r>
              <a:rPr lang="en-US" dirty="0" err="1" smtClean="0"/>
              <a:t>quia</a:t>
            </a:r>
            <a:r>
              <a:rPr lang="en-US" dirty="0" smtClean="0"/>
              <a:t> </a:t>
            </a:r>
            <a:r>
              <a:rPr lang="en-US" dirty="0" err="1" smtClean="0"/>
              <a:t>enihillab</a:t>
            </a:r>
            <a:r>
              <a:rPr lang="en-US" dirty="0" smtClean="0"/>
              <a:t> </a:t>
            </a:r>
            <a:r>
              <a:rPr lang="en-US" dirty="0" err="1" smtClean="0"/>
              <a:t>iurenim</a:t>
            </a:r>
            <a:r>
              <a:rPr lang="en-US" dirty="0" smtClean="0"/>
              <a:t> </a:t>
            </a:r>
            <a:r>
              <a:rPr lang="en-US" dirty="0" err="1" smtClean="0"/>
              <a:t>facessi</a:t>
            </a:r>
            <a:r>
              <a:rPr lang="en-US" dirty="0" smtClean="0"/>
              <a:t> </a:t>
            </a:r>
            <a:r>
              <a:rPr lang="en-US" dirty="0" err="1" smtClean="0"/>
              <a:t>optaepelesti</a:t>
            </a:r>
            <a:r>
              <a:rPr lang="en-US" dirty="0" smtClean="0"/>
              <a:t> non </a:t>
            </a:r>
            <a:r>
              <a:rPr lang="en-US" dirty="0" err="1" smtClean="0"/>
              <a:t>perum</a:t>
            </a:r>
            <a:r>
              <a:rPr lang="en-US" dirty="0" smtClean="0"/>
              <a:t> </a:t>
            </a:r>
            <a:r>
              <a:rPr lang="en-US" dirty="0" err="1" smtClean="0"/>
              <a:t>illuptam</a:t>
            </a:r>
            <a:r>
              <a:rPr lang="en-US" dirty="0" smtClean="0"/>
              <a:t> et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quiata</a:t>
            </a:r>
            <a:r>
              <a:rPr lang="en-US" dirty="0" smtClean="0"/>
              <a:t> </a:t>
            </a:r>
            <a:r>
              <a:rPr lang="en-US" dirty="0" err="1" smtClean="0"/>
              <a:t>aut</a:t>
            </a:r>
            <a:r>
              <a:rPr lang="en-US" dirty="0" smtClean="0"/>
              <a:t> </a:t>
            </a:r>
            <a:r>
              <a:rPr lang="en-US" dirty="0" err="1" smtClean="0"/>
              <a:t>videlec</a:t>
            </a:r>
            <a:r>
              <a:rPr lang="en-US" dirty="0" smtClean="0"/>
              <a:t> </a:t>
            </a:r>
            <a:r>
              <a:rPr lang="en-US" dirty="0" err="1" smtClean="0"/>
              <a:t>uptatiae</a:t>
            </a:r>
            <a:r>
              <a:rPr lang="en-US" dirty="0" smtClean="0"/>
              <a:t> lam quam et </a:t>
            </a:r>
            <a:r>
              <a:rPr lang="en-US" dirty="0" err="1" smtClean="0"/>
              <a:t>verum</a:t>
            </a:r>
            <a:r>
              <a:rPr lang="en-US" dirty="0" smtClean="0"/>
              <a:t> </a:t>
            </a:r>
            <a:r>
              <a:rPr lang="en-US" dirty="0" err="1" smtClean="0"/>
              <a:t>int</a:t>
            </a:r>
            <a:r>
              <a:rPr lang="en-US" dirty="0" smtClean="0"/>
              <a:t>, </a:t>
            </a:r>
            <a:r>
              <a:rPr lang="en-US" dirty="0" err="1" smtClean="0"/>
              <a:t>quas</a:t>
            </a:r>
            <a:r>
              <a:rPr lang="en-US" dirty="0" smtClean="0"/>
              <a:t> </a:t>
            </a:r>
            <a:r>
              <a:rPr lang="en-US" dirty="0" err="1" smtClean="0"/>
              <a:t>nimi</a:t>
            </a:r>
            <a:r>
              <a:rPr lang="en-US" dirty="0" smtClean="0"/>
              <a:t>, </a:t>
            </a:r>
            <a:r>
              <a:rPr lang="en-US" dirty="0" err="1" smtClean="0"/>
              <a:t>te</a:t>
            </a:r>
            <a:r>
              <a:rPr lang="en-US" dirty="0" smtClean="0"/>
              <a:t> et qui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ccaboris</a:t>
            </a:r>
            <a:r>
              <a:rPr lang="en-US" dirty="0" smtClean="0"/>
              <a:t> </a:t>
            </a:r>
            <a:r>
              <a:rPr lang="en-US" dirty="0" err="1" smtClean="0"/>
              <a:t>excea</a:t>
            </a:r>
            <a:r>
              <a:rPr lang="en-US" dirty="0" smtClean="0"/>
              <a:t> con </a:t>
            </a:r>
            <a:r>
              <a:rPr lang="en-US" dirty="0" err="1" smtClean="0"/>
              <a:t>nis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cea</a:t>
            </a:r>
            <a:r>
              <a:rPr lang="en-US" dirty="0" smtClean="0"/>
              <a:t> </a:t>
            </a:r>
            <a:r>
              <a:rPr lang="en-US" dirty="0" err="1" smtClean="0"/>
              <a:t>nonsequae</a:t>
            </a:r>
            <a:r>
              <a:rPr lang="en-US" dirty="0" smtClean="0"/>
              <a:t> </a:t>
            </a:r>
            <a:r>
              <a:rPr lang="en-US" dirty="0" err="1" smtClean="0"/>
              <a:t>lique</a:t>
            </a:r>
            <a:r>
              <a:rPr lang="en-US" dirty="0" smtClean="0"/>
              <a:t> </a:t>
            </a:r>
            <a:r>
              <a:rPr lang="en-US" dirty="0" err="1" smtClean="0"/>
              <a:t>solenis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intur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25897" y="214916"/>
            <a:ext cx="3598002" cy="297574"/>
          </a:xfrm>
        </p:spPr>
        <p:txBody>
          <a:bodyPr>
            <a:noAutofit/>
          </a:bodyPr>
          <a:lstStyle>
            <a:lvl1pPr marL="0" indent="0">
              <a:buNone/>
              <a:defRPr sz="800" b="1" baseline="0">
                <a:solidFill>
                  <a:srgbClr val="3D9AD7"/>
                </a:solidFill>
              </a:defRPr>
            </a:lvl1pPr>
          </a:lstStyle>
          <a:p>
            <a:pPr lvl="0"/>
            <a:r>
              <a:rPr lang="en-US" dirty="0" smtClean="0"/>
              <a:t>Nov 6, 2015 Union Global Partners Limited Me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097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6777" y="2302370"/>
            <a:ext cx="9326880" cy="1147832"/>
          </a:xfrm>
        </p:spPr>
        <p:txBody>
          <a:bodyPr anchor="t">
            <a:noAutofit/>
          </a:bodyPr>
          <a:lstStyle>
            <a:lvl1pPr algn="l">
              <a:defRPr sz="1600" b="0" i="0" cap="none">
                <a:solidFill>
                  <a:srgbClr val="3D9AD7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Tem </a:t>
            </a:r>
            <a:r>
              <a:rPr lang="en-US" dirty="0" err="1" smtClean="0"/>
              <a:t>dolupta</a:t>
            </a:r>
            <a:r>
              <a:rPr lang="en-US" dirty="0" smtClean="0"/>
              <a:t> </a:t>
            </a:r>
            <a:r>
              <a:rPr lang="en-US" dirty="0" err="1" smtClean="0"/>
              <a:t>turisqu</a:t>
            </a:r>
            <a:r>
              <a:rPr lang="en-US" dirty="0" smtClean="0"/>
              <a:t> </a:t>
            </a:r>
            <a:r>
              <a:rPr lang="en-US" dirty="0" err="1" smtClean="0"/>
              <a:t>issunt</a:t>
            </a:r>
            <a:r>
              <a:rPr lang="en-US" dirty="0" smtClean="0"/>
              <a:t> </a:t>
            </a:r>
            <a:r>
              <a:rPr lang="en-US" dirty="0" err="1" smtClean="0"/>
              <a:t>laborem</a:t>
            </a:r>
            <a:r>
              <a:rPr lang="en-US" dirty="0" smtClean="0"/>
              <a:t> </a:t>
            </a:r>
            <a:r>
              <a:rPr lang="en-US" dirty="0" err="1" smtClean="0"/>
              <a:t>quodit</a:t>
            </a:r>
            <a:r>
              <a:rPr lang="en-US" dirty="0" smtClean="0"/>
              <a:t> am, </a:t>
            </a:r>
            <a:r>
              <a:rPr lang="en-US" dirty="0" err="1" smtClean="0"/>
              <a:t>quate</a:t>
            </a:r>
            <a:r>
              <a:rPr lang="en-US" dirty="0" smtClean="0"/>
              <a:t> </a:t>
            </a:r>
            <a:r>
              <a:rPr lang="en-US" dirty="0" err="1" smtClean="0"/>
              <a:t>maiorepudam</a:t>
            </a:r>
            <a:r>
              <a:rPr lang="en-US" dirty="0" smtClean="0"/>
              <a:t> </a:t>
            </a:r>
            <a:r>
              <a:rPr lang="en-US" dirty="0" err="1" smtClean="0"/>
              <a:t>exernatis</a:t>
            </a:r>
            <a:r>
              <a:rPr lang="en-US" dirty="0" smtClean="0"/>
              <a:t> con </a:t>
            </a:r>
            <a:r>
              <a:rPr lang="en-US" dirty="0" err="1" smtClean="0"/>
              <a:t>nonsequ</a:t>
            </a:r>
            <a:r>
              <a:rPr lang="en-US" dirty="0" smtClean="0"/>
              <a:t> </a:t>
            </a:r>
            <a:r>
              <a:rPr lang="en-US" dirty="0" err="1" smtClean="0"/>
              <a:t>atquaecta</a:t>
            </a:r>
            <a:r>
              <a:rPr lang="en-US" dirty="0" smtClean="0"/>
              <a:t> </a:t>
            </a:r>
            <a:r>
              <a:rPr lang="en-US" dirty="0" err="1" smtClean="0"/>
              <a:t>dolut</a:t>
            </a:r>
            <a:r>
              <a:rPr lang="en-US" dirty="0" smtClean="0"/>
              <a:t> </a:t>
            </a:r>
            <a:r>
              <a:rPr lang="en-US" dirty="0" err="1" smtClean="0"/>
              <a:t>exero</a:t>
            </a:r>
            <a:r>
              <a:rPr lang="en-US" dirty="0" smtClean="0"/>
              <a:t> </a:t>
            </a:r>
            <a:r>
              <a:rPr lang="en-US" dirty="0" err="1" smtClean="0"/>
              <a:t>venis</a:t>
            </a:r>
            <a:r>
              <a:rPr lang="en-US" dirty="0" smtClean="0"/>
              <a:t> </a:t>
            </a:r>
            <a:r>
              <a:rPr lang="en-US" dirty="0" err="1" smtClean="0"/>
              <a:t>exernat</a:t>
            </a:r>
            <a:r>
              <a:rPr lang="en-US" dirty="0" smtClean="0"/>
              <a:t> </a:t>
            </a:r>
            <a:r>
              <a:rPr lang="en-US" dirty="0" err="1" smtClean="0"/>
              <a:t>entibus</a:t>
            </a:r>
            <a:r>
              <a:rPr lang="en-US" dirty="0" smtClean="0"/>
              <a:t> </a:t>
            </a:r>
            <a:r>
              <a:rPr lang="en-US" dirty="0" err="1" smtClean="0"/>
              <a:t>quodi</a:t>
            </a:r>
            <a:r>
              <a:rPr lang="en-US" dirty="0" smtClean="0"/>
              <a:t> </a:t>
            </a:r>
            <a:r>
              <a:rPr lang="en-US" dirty="0" err="1" smtClean="0"/>
              <a:t>opta</a:t>
            </a:r>
            <a:r>
              <a:rPr lang="en-US" dirty="0" smtClean="0"/>
              <a:t> </a:t>
            </a:r>
            <a:r>
              <a:rPr lang="en-US" dirty="0" err="1" smtClean="0"/>
              <a:t>simusam</a:t>
            </a:r>
            <a:r>
              <a:rPr lang="en-US" dirty="0" smtClean="0"/>
              <a:t>, </a:t>
            </a:r>
            <a:r>
              <a:rPr lang="en-US" err="1" smtClean="0"/>
              <a:t>auditem</a:t>
            </a:r>
            <a:r>
              <a:rPr lang="en-US" smtClean="0"/>
              <a:t> ea </a:t>
            </a:r>
            <a:r>
              <a:rPr lang="en-US" dirty="0" err="1" smtClean="0"/>
              <a:t>dio</a:t>
            </a:r>
            <a:r>
              <a:rPr lang="en-US" dirty="0" smtClean="0"/>
              <a:t>. Cores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reroribus</a:t>
            </a:r>
            <a:r>
              <a:rPr lang="en-US" dirty="0" smtClean="0"/>
              <a:t> </a:t>
            </a:r>
            <a:r>
              <a:rPr lang="en-US" dirty="0" err="1" smtClean="0"/>
              <a:t>magnatem</a:t>
            </a:r>
            <a:r>
              <a:rPr lang="en-US" dirty="0" smtClean="0"/>
              <a:t> </a:t>
            </a:r>
            <a:r>
              <a:rPr lang="en-US" dirty="0" err="1" smtClean="0"/>
              <a:t>aut</a:t>
            </a:r>
            <a:r>
              <a:rPr lang="en-US" dirty="0" smtClean="0"/>
              <a:t> </a:t>
            </a:r>
            <a:r>
              <a:rPr lang="en-US" dirty="0" err="1" smtClean="0"/>
              <a:t>exerepu</a:t>
            </a:r>
            <a:r>
              <a:rPr lang="en-US" dirty="0" smtClean="0"/>
              <a:t> </a:t>
            </a:r>
            <a:r>
              <a:rPr lang="en-US" dirty="0" err="1" smtClean="0"/>
              <a:t>dipsum</a:t>
            </a:r>
            <a:r>
              <a:rPr lang="en-US" dirty="0" smtClean="0"/>
              <a:t> </a:t>
            </a:r>
            <a:r>
              <a:rPr lang="en-US" dirty="0" err="1" smtClean="0"/>
              <a:t>voluptas</a:t>
            </a:r>
            <a:r>
              <a:rPr lang="en-US" dirty="0" smtClean="0"/>
              <a:t> </a:t>
            </a:r>
            <a:r>
              <a:rPr lang="en-US" dirty="0" err="1" smtClean="0"/>
              <a:t>apidebis</a:t>
            </a:r>
            <a:r>
              <a:rPr lang="en-US" dirty="0" smtClean="0"/>
              <a:t> </a:t>
            </a:r>
            <a:r>
              <a:rPr lang="en-US" dirty="0" err="1" smtClean="0"/>
              <a:t>etusandis</a:t>
            </a:r>
            <a:r>
              <a:rPr lang="en-US" dirty="0" smtClean="0"/>
              <a:t> doles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sequo</a:t>
            </a:r>
            <a:r>
              <a:rPr lang="en-US" dirty="0" smtClean="0"/>
              <a:t> </a:t>
            </a:r>
            <a:r>
              <a:rPr lang="en-US" dirty="0" err="1" smtClean="0"/>
              <a:t>essit</a:t>
            </a:r>
            <a:r>
              <a:rPr lang="en-US" dirty="0" smtClean="0"/>
              <a:t> </a:t>
            </a:r>
            <a:r>
              <a:rPr lang="en-US" dirty="0" err="1" smtClean="0"/>
              <a:t>moloria</a:t>
            </a:r>
            <a:r>
              <a:rPr lang="en-US" dirty="0" smtClean="0"/>
              <a:t> </a:t>
            </a:r>
            <a:r>
              <a:rPr lang="en-US" dirty="0" err="1" smtClean="0"/>
              <a:t>dolesequi</a:t>
            </a:r>
            <a:r>
              <a:rPr lang="en-US" dirty="0" smtClean="0"/>
              <a:t> </a:t>
            </a:r>
            <a:r>
              <a:rPr lang="en-US" dirty="0" err="1" smtClean="0"/>
              <a:t>blaut</a:t>
            </a:r>
            <a:r>
              <a:rPr lang="en-US" dirty="0" smtClean="0"/>
              <a:t> </a:t>
            </a:r>
            <a:r>
              <a:rPr lang="en-US" dirty="0" err="1" smtClean="0"/>
              <a:t>aliatib</a:t>
            </a:r>
            <a:r>
              <a:rPr lang="en-US" dirty="0" smtClean="0"/>
              <a:t> </a:t>
            </a:r>
            <a:r>
              <a:rPr lang="en-US" dirty="0" err="1" smtClean="0"/>
              <a:t>usciasp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66777" y="1289497"/>
            <a:ext cx="9326880" cy="902129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651355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30271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5406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60542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5677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90813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594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21084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FACCUPTA TEMPOS RERUMQUI ALIQUI DOLUPTAT ET UTA SIMINTI CUPTATAQUI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66735" y="3549393"/>
            <a:ext cx="9326410" cy="2755028"/>
          </a:xfrm>
        </p:spPr>
        <p:txBody>
          <a:bodyPr>
            <a:normAutofit/>
          </a:bodyPr>
          <a:lstStyle>
            <a:lvl1pPr marL="201683" indent="-201683">
              <a:buSzPct val="150000"/>
              <a:buFont typeface="Arial"/>
              <a:buChar char="•"/>
              <a:defRPr sz="1300"/>
            </a:lvl1pPr>
          </a:lstStyle>
          <a:p>
            <a:pPr lvl="0"/>
            <a:r>
              <a:rPr lang="en-US" dirty="0" err="1" smtClean="0"/>
              <a:t>Nullaciundi</a:t>
            </a:r>
            <a:r>
              <a:rPr lang="en-US" dirty="0" smtClean="0"/>
              <a:t> </a:t>
            </a:r>
            <a:r>
              <a:rPr lang="en-US" dirty="0" err="1" smtClean="0"/>
              <a:t>autae</a:t>
            </a:r>
            <a:r>
              <a:rPr lang="en-US" dirty="0" smtClean="0"/>
              <a:t> </a:t>
            </a:r>
            <a:r>
              <a:rPr lang="en-US" dirty="0" err="1" smtClean="0"/>
              <a:t>pelia</a:t>
            </a:r>
            <a:r>
              <a:rPr lang="en-US" dirty="0" smtClean="0"/>
              <a:t> con </a:t>
            </a:r>
            <a:r>
              <a:rPr lang="en-US" dirty="0" err="1" smtClean="0"/>
              <a:t>exped</a:t>
            </a:r>
            <a:r>
              <a:rPr lang="en-US" dirty="0" smtClean="0"/>
              <a:t> et </a:t>
            </a:r>
            <a:r>
              <a:rPr lang="en-US" dirty="0" err="1" smtClean="0"/>
              <a:t>pe</a:t>
            </a:r>
            <a:r>
              <a:rPr lang="en-US" dirty="0" smtClean="0"/>
              <a:t> </a:t>
            </a:r>
            <a:r>
              <a:rPr lang="en-US" dirty="0" err="1" smtClean="0"/>
              <a:t>pe</a:t>
            </a:r>
            <a:r>
              <a:rPr lang="en-US" dirty="0" smtClean="0"/>
              <a:t> </a:t>
            </a:r>
            <a:r>
              <a:rPr lang="en-US" dirty="0" err="1" smtClean="0"/>
              <a:t>sanda</a:t>
            </a:r>
            <a:r>
              <a:rPr lang="en-US" dirty="0" smtClean="0"/>
              <a:t> et </a:t>
            </a:r>
            <a:r>
              <a:rPr lang="en-US" dirty="0" err="1" smtClean="0"/>
              <a:t>quiatemquo</a:t>
            </a:r>
            <a:r>
              <a:rPr lang="en-US" dirty="0" smtClean="0"/>
              <a:t> </a:t>
            </a:r>
            <a:r>
              <a:rPr lang="en-US" dirty="0" err="1" smtClean="0"/>
              <a:t>tempeditasi</a:t>
            </a:r>
            <a:r>
              <a:rPr lang="en-US" dirty="0" smtClean="0"/>
              <a:t> </a:t>
            </a:r>
            <a:r>
              <a:rPr lang="en-US" dirty="0" err="1" smtClean="0"/>
              <a:t>ditem</a:t>
            </a:r>
            <a:r>
              <a:rPr lang="en-US" dirty="0" smtClean="0"/>
              <a:t> quam </a:t>
            </a:r>
            <a:r>
              <a:rPr lang="en-US" dirty="0" err="1" smtClean="0"/>
              <a:t>eaquisi</a:t>
            </a:r>
            <a:r>
              <a:rPr lang="en-US" dirty="0" smtClean="0"/>
              <a:t> </a:t>
            </a:r>
            <a:r>
              <a:rPr lang="en-US" dirty="0" err="1" smtClean="0"/>
              <a:t>quia</a:t>
            </a:r>
            <a:r>
              <a:rPr lang="en-US" dirty="0" smtClean="0"/>
              <a:t> </a:t>
            </a:r>
            <a:r>
              <a:rPr lang="en-US" dirty="0" err="1" smtClean="0"/>
              <a:t>enihillab</a:t>
            </a:r>
            <a:r>
              <a:rPr lang="en-US" dirty="0" smtClean="0"/>
              <a:t> </a:t>
            </a:r>
            <a:r>
              <a:rPr lang="en-US" dirty="0" err="1" smtClean="0"/>
              <a:t>iurenim</a:t>
            </a:r>
            <a:r>
              <a:rPr lang="en-US" dirty="0" smtClean="0"/>
              <a:t> </a:t>
            </a:r>
            <a:r>
              <a:rPr lang="en-US" dirty="0" err="1" smtClean="0"/>
              <a:t>facessi</a:t>
            </a:r>
            <a:r>
              <a:rPr lang="en-US" dirty="0" smtClean="0"/>
              <a:t> </a:t>
            </a:r>
            <a:r>
              <a:rPr lang="en-US" dirty="0" err="1" smtClean="0"/>
              <a:t>optaepelesti</a:t>
            </a:r>
            <a:r>
              <a:rPr lang="en-US" dirty="0" smtClean="0"/>
              <a:t> non </a:t>
            </a:r>
            <a:r>
              <a:rPr lang="en-US" dirty="0" err="1" smtClean="0"/>
              <a:t>perum</a:t>
            </a:r>
            <a:r>
              <a:rPr lang="en-US" dirty="0" smtClean="0"/>
              <a:t> </a:t>
            </a:r>
            <a:r>
              <a:rPr lang="en-US" dirty="0" err="1" smtClean="0"/>
              <a:t>illuptam</a:t>
            </a:r>
            <a:r>
              <a:rPr lang="en-US" dirty="0" smtClean="0"/>
              <a:t> et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quiata</a:t>
            </a:r>
            <a:r>
              <a:rPr lang="en-US" dirty="0" smtClean="0"/>
              <a:t> </a:t>
            </a:r>
            <a:r>
              <a:rPr lang="en-US" dirty="0" err="1" smtClean="0"/>
              <a:t>aut</a:t>
            </a:r>
            <a:r>
              <a:rPr lang="en-US" dirty="0" smtClean="0"/>
              <a:t> </a:t>
            </a:r>
            <a:r>
              <a:rPr lang="en-US" dirty="0" err="1" smtClean="0"/>
              <a:t>videlec</a:t>
            </a:r>
            <a:r>
              <a:rPr lang="en-US" dirty="0" smtClean="0"/>
              <a:t> </a:t>
            </a:r>
            <a:r>
              <a:rPr lang="en-US" dirty="0" err="1" smtClean="0"/>
              <a:t>uptatiae</a:t>
            </a:r>
            <a:r>
              <a:rPr lang="en-US" dirty="0" smtClean="0"/>
              <a:t> lam quam et </a:t>
            </a:r>
            <a:r>
              <a:rPr lang="en-US" dirty="0" err="1" smtClean="0"/>
              <a:t>verum</a:t>
            </a:r>
            <a:r>
              <a:rPr lang="en-US" dirty="0" smtClean="0"/>
              <a:t> </a:t>
            </a:r>
            <a:r>
              <a:rPr lang="en-US" dirty="0" err="1" smtClean="0"/>
              <a:t>int</a:t>
            </a:r>
            <a:r>
              <a:rPr lang="en-US" dirty="0" smtClean="0"/>
              <a:t>, </a:t>
            </a:r>
            <a:r>
              <a:rPr lang="en-US" dirty="0" err="1" smtClean="0"/>
              <a:t>quas</a:t>
            </a:r>
            <a:r>
              <a:rPr lang="en-US" dirty="0" smtClean="0"/>
              <a:t> </a:t>
            </a:r>
            <a:r>
              <a:rPr lang="en-US" dirty="0" err="1" smtClean="0"/>
              <a:t>nimi</a:t>
            </a:r>
            <a:r>
              <a:rPr lang="en-US" dirty="0" smtClean="0"/>
              <a:t>, </a:t>
            </a:r>
            <a:r>
              <a:rPr lang="en-US" dirty="0" err="1" smtClean="0"/>
              <a:t>te</a:t>
            </a:r>
            <a:r>
              <a:rPr lang="en-US" dirty="0" smtClean="0"/>
              <a:t> et qui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ccaboris</a:t>
            </a:r>
            <a:r>
              <a:rPr lang="en-US" dirty="0" smtClean="0"/>
              <a:t> </a:t>
            </a:r>
            <a:r>
              <a:rPr lang="en-US" dirty="0" err="1" smtClean="0"/>
              <a:t>excea</a:t>
            </a:r>
            <a:r>
              <a:rPr lang="en-US" dirty="0" smtClean="0"/>
              <a:t> con </a:t>
            </a:r>
            <a:r>
              <a:rPr lang="en-US" dirty="0" err="1" smtClean="0"/>
              <a:t>nis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cea</a:t>
            </a:r>
            <a:r>
              <a:rPr lang="en-US" dirty="0" smtClean="0"/>
              <a:t> </a:t>
            </a:r>
            <a:r>
              <a:rPr lang="en-US" dirty="0" err="1" smtClean="0"/>
              <a:t>nonsequae</a:t>
            </a:r>
            <a:r>
              <a:rPr lang="en-US" dirty="0" smtClean="0"/>
              <a:t> </a:t>
            </a:r>
            <a:r>
              <a:rPr lang="en-US" dirty="0" err="1" smtClean="0"/>
              <a:t>lique</a:t>
            </a:r>
            <a:r>
              <a:rPr lang="en-US" dirty="0" smtClean="0"/>
              <a:t> </a:t>
            </a:r>
            <a:r>
              <a:rPr lang="en-US" dirty="0" err="1" smtClean="0"/>
              <a:t>solenis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intur</a:t>
            </a:r>
            <a:r>
              <a:rPr lang="en-US" dirty="0" smtClean="0"/>
              <a:t> </a:t>
            </a:r>
            <a:r>
              <a:rPr lang="en-US" dirty="0" err="1" smtClean="0"/>
              <a:t>sinveni</a:t>
            </a:r>
            <a:r>
              <a:rPr lang="en-US" dirty="0" smtClean="0"/>
              <a:t> </a:t>
            </a:r>
            <a:r>
              <a:rPr lang="en-US" dirty="0" err="1" smtClean="0"/>
              <a:t>dolum</a:t>
            </a:r>
            <a:r>
              <a:rPr lang="en-US" dirty="0" smtClean="0"/>
              <a:t> </a:t>
            </a:r>
            <a:r>
              <a:rPr lang="en-US" dirty="0" err="1" smtClean="0"/>
              <a:t>aliasperspit</a:t>
            </a:r>
            <a:r>
              <a:rPr lang="en-US" dirty="0" smtClean="0"/>
              <a:t>.</a:t>
            </a:r>
          </a:p>
          <a:p>
            <a:pPr lvl="0"/>
            <a:endParaRPr lang="en-US" dirty="0" smtClean="0"/>
          </a:p>
          <a:p>
            <a:pPr lvl="0"/>
            <a:r>
              <a:rPr lang="en-US" dirty="0" err="1" smtClean="0"/>
              <a:t>Enihillab</a:t>
            </a:r>
            <a:r>
              <a:rPr lang="en-US" dirty="0" smtClean="0"/>
              <a:t> </a:t>
            </a:r>
            <a:r>
              <a:rPr lang="en-US" dirty="0" err="1" smtClean="0"/>
              <a:t>iurenim</a:t>
            </a:r>
            <a:r>
              <a:rPr lang="en-US" dirty="0" smtClean="0"/>
              <a:t> </a:t>
            </a:r>
            <a:r>
              <a:rPr lang="en-US" dirty="0" err="1" smtClean="0"/>
              <a:t>facessi</a:t>
            </a:r>
            <a:r>
              <a:rPr lang="en-US" dirty="0" smtClean="0"/>
              <a:t> </a:t>
            </a:r>
            <a:r>
              <a:rPr lang="en-US" dirty="0" err="1" smtClean="0"/>
              <a:t>optaepelesti</a:t>
            </a:r>
            <a:r>
              <a:rPr lang="en-US" dirty="0" smtClean="0"/>
              <a:t> non </a:t>
            </a:r>
            <a:r>
              <a:rPr lang="en-US" dirty="0" err="1" smtClean="0"/>
              <a:t>perum</a:t>
            </a:r>
            <a:r>
              <a:rPr lang="en-US" dirty="0" smtClean="0"/>
              <a:t> </a:t>
            </a:r>
            <a:r>
              <a:rPr lang="en-US" dirty="0" err="1" smtClean="0"/>
              <a:t>illuptam</a:t>
            </a:r>
            <a:r>
              <a:rPr lang="en-US" dirty="0" smtClean="0"/>
              <a:t> et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quiata</a:t>
            </a:r>
            <a:r>
              <a:rPr lang="en-US" dirty="0" smtClean="0"/>
              <a:t> </a:t>
            </a:r>
            <a:r>
              <a:rPr lang="en-US" dirty="0" err="1" smtClean="0"/>
              <a:t>aut</a:t>
            </a:r>
            <a:r>
              <a:rPr lang="en-US" dirty="0" smtClean="0"/>
              <a:t> </a:t>
            </a:r>
            <a:r>
              <a:rPr lang="en-US" dirty="0" err="1" smtClean="0"/>
              <a:t>videlec</a:t>
            </a:r>
            <a:r>
              <a:rPr lang="en-US" dirty="0" smtClean="0"/>
              <a:t> </a:t>
            </a:r>
            <a:r>
              <a:rPr lang="en-US" dirty="0" err="1" smtClean="0"/>
              <a:t>uptatiae</a:t>
            </a:r>
            <a:r>
              <a:rPr lang="en-US" dirty="0" smtClean="0"/>
              <a:t> lam quam et </a:t>
            </a:r>
            <a:r>
              <a:rPr lang="en-US" dirty="0" err="1" smtClean="0"/>
              <a:t>verum</a:t>
            </a:r>
            <a:r>
              <a:rPr lang="en-US" dirty="0" smtClean="0"/>
              <a:t> </a:t>
            </a:r>
            <a:r>
              <a:rPr lang="en-US" dirty="0" err="1" smtClean="0"/>
              <a:t>int</a:t>
            </a:r>
            <a:r>
              <a:rPr lang="en-US" dirty="0" smtClean="0"/>
              <a:t>, </a:t>
            </a:r>
            <a:r>
              <a:rPr lang="en-US" dirty="0" err="1" smtClean="0"/>
              <a:t>quas</a:t>
            </a:r>
            <a:r>
              <a:rPr lang="en-US" dirty="0" smtClean="0"/>
              <a:t> </a:t>
            </a:r>
            <a:r>
              <a:rPr lang="en-US" dirty="0" err="1" smtClean="0"/>
              <a:t>nimi</a:t>
            </a:r>
            <a:r>
              <a:rPr lang="en-US" dirty="0" smtClean="0"/>
              <a:t>, </a:t>
            </a:r>
            <a:r>
              <a:rPr lang="en-US" dirty="0" err="1" smtClean="0"/>
              <a:t>te</a:t>
            </a:r>
            <a:r>
              <a:rPr lang="en-US" dirty="0" smtClean="0"/>
              <a:t> et qui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ccaboris</a:t>
            </a:r>
            <a:r>
              <a:rPr lang="en-US" dirty="0" smtClean="0"/>
              <a:t> </a:t>
            </a:r>
            <a:r>
              <a:rPr lang="en-US" dirty="0" err="1" smtClean="0"/>
              <a:t>excea</a:t>
            </a:r>
            <a:r>
              <a:rPr lang="en-US" dirty="0" smtClean="0"/>
              <a:t> con </a:t>
            </a:r>
            <a:r>
              <a:rPr lang="en-US" dirty="0" err="1" smtClean="0"/>
              <a:t>nis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cea</a:t>
            </a:r>
            <a:r>
              <a:rPr lang="en-US" dirty="0" smtClean="0"/>
              <a:t> </a:t>
            </a:r>
            <a:r>
              <a:rPr lang="en-US" dirty="0" err="1" smtClean="0"/>
              <a:t>nonsequae</a:t>
            </a:r>
            <a:r>
              <a:rPr lang="en-US" dirty="0" smtClean="0"/>
              <a:t> </a:t>
            </a:r>
            <a:r>
              <a:rPr lang="en-US" dirty="0" err="1" smtClean="0"/>
              <a:t>lique</a:t>
            </a:r>
            <a:r>
              <a:rPr lang="en-US" dirty="0" smtClean="0"/>
              <a:t> </a:t>
            </a:r>
            <a:r>
              <a:rPr lang="en-US" dirty="0" err="1" smtClean="0"/>
              <a:t>solenis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intur</a:t>
            </a:r>
            <a:r>
              <a:rPr lang="en-US" dirty="0" smtClean="0"/>
              <a:t> </a:t>
            </a:r>
            <a:r>
              <a:rPr lang="en-US" dirty="0" err="1" smtClean="0"/>
              <a:t>sinveni</a:t>
            </a:r>
            <a:r>
              <a:rPr lang="en-US" dirty="0" smtClean="0"/>
              <a:t> </a:t>
            </a:r>
            <a:r>
              <a:rPr lang="en-US" dirty="0" err="1" smtClean="0"/>
              <a:t>vella</a:t>
            </a:r>
            <a:r>
              <a:rPr lang="en-US" dirty="0" smtClean="0"/>
              <a:t> </a:t>
            </a:r>
            <a:r>
              <a:rPr lang="en-US" dirty="0" err="1" smtClean="0"/>
              <a:t>cuptaque</a:t>
            </a:r>
            <a:r>
              <a:rPr lang="en-US" dirty="0" smtClean="0"/>
              <a:t> di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rerehentet</a:t>
            </a:r>
            <a:r>
              <a:rPr lang="en-US" dirty="0" smtClean="0"/>
              <a:t> </a:t>
            </a:r>
            <a:r>
              <a:rPr lang="en-US" dirty="0" err="1" smtClean="0"/>
              <a:t>landici</a:t>
            </a:r>
            <a:r>
              <a:rPr lang="en-US" dirty="0" smtClean="0"/>
              <a:t> </a:t>
            </a:r>
            <a:r>
              <a:rPr lang="en-US" dirty="0" err="1" smtClean="0"/>
              <a:t>soluptatur</a:t>
            </a:r>
            <a:r>
              <a:rPr lang="en-US" dirty="0" smtClean="0"/>
              <a:t> </a:t>
            </a:r>
            <a:r>
              <a:rPr lang="en-US" dirty="0" err="1" smtClean="0"/>
              <a:t>si</a:t>
            </a:r>
            <a:r>
              <a:rPr lang="en-US" dirty="0" smtClean="0"/>
              <a:t> </a:t>
            </a:r>
            <a:r>
              <a:rPr lang="en-US" dirty="0" err="1" smtClean="0"/>
              <a:t>commos</a:t>
            </a:r>
            <a:r>
              <a:rPr lang="en-US" dirty="0" smtClean="0"/>
              <a:t> </a:t>
            </a:r>
            <a:r>
              <a:rPr lang="en-US" dirty="0" err="1" smtClean="0"/>
              <a:t>delessit</a:t>
            </a:r>
            <a:r>
              <a:rPr lang="en-US" dirty="0" smtClean="0"/>
              <a:t>, </a:t>
            </a:r>
            <a:r>
              <a:rPr lang="en-US" dirty="0" err="1" smtClean="0"/>
              <a:t>vero</a:t>
            </a:r>
            <a:r>
              <a:rPr lang="en-US" dirty="0" smtClean="0"/>
              <a:t>.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25897" y="214916"/>
            <a:ext cx="3598002" cy="297574"/>
          </a:xfrm>
        </p:spPr>
        <p:txBody>
          <a:bodyPr>
            <a:noAutofit/>
          </a:bodyPr>
          <a:lstStyle>
            <a:lvl1pPr marL="0" indent="0">
              <a:buNone/>
              <a:defRPr sz="800" b="1" baseline="0">
                <a:solidFill>
                  <a:srgbClr val="3D9AD7"/>
                </a:solidFill>
              </a:defRPr>
            </a:lvl1pPr>
          </a:lstStyle>
          <a:p>
            <a:pPr lvl="0"/>
            <a:r>
              <a:rPr lang="en-US" dirty="0" smtClean="0"/>
              <a:t>Nov 6, 2015 Union Global Partners Limited Me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522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6777" y="2302370"/>
            <a:ext cx="9326880" cy="673380"/>
          </a:xfrm>
        </p:spPr>
        <p:txBody>
          <a:bodyPr anchor="t">
            <a:noAutofit/>
          </a:bodyPr>
          <a:lstStyle>
            <a:lvl1pPr algn="l">
              <a:defRPr sz="1600" b="0" i="0" cap="none">
                <a:solidFill>
                  <a:srgbClr val="3D9AD7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Tem </a:t>
            </a:r>
            <a:r>
              <a:rPr lang="en-US" dirty="0" err="1" smtClean="0"/>
              <a:t>dolupta</a:t>
            </a:r>
            <a:r>
              <a:rPr lang="en-US" dirty="0" smtClean="0"/>
              <a:t> </a:t>
            </a:r>
            <a:r>
              <a:rPr lang="en-US" dirty="0" err="1" smtClean="0"/>
              <a:t>turisqu</a:t>
            </a:r>
            <a:r>
              <a:rPr lang="en-US" dirty="0" smtClean="0"/>
              <a:t> </a:t>
            </a:r>
            <a:r>
              <a:rPr lang="en-US" dirty="0" err="1" smtClean="0"/>
              <a:t>issunt</a:t>
            </a:r>
            <a:r>
              <a:rPr lang="en-US" dirty="0" smtClean="0"/>
              <a:t> </a:t>
            </a:r>
            <a:r>
              <a:rPr lang="en-US" dirty="0" err="1" smtClean="0"/>
              <a:t>laborem</a:t>
            </a:r>
            <a:r>
              <a:rPr lang="en-US" dirty="0" smtClean="0"/>
              <a:t> </a:t>
            </a:r>
            <a:r>
              <a:rPr lang="en-US" dirty="0" err="1" smtClean="0"/>
              <a:t>quodit</a:t>
            </a:r>
            <a:r>
              <a:rPr lang="en-US" dirty="0" smtClean="0"/>
              <a:t> am, </a:t>
            </a:r>
            <a:r>
              <a:rPr lang="en-US" dirty="0" err="1" smtClean="0"/>
              <a:t>quate</a:t>
            </a:r>
            <a:r>
              <a:rPr lang="en-US" dirty="0" smtClean="0"/>
              <a:t> </a:t>
            </a:r>
            <a:r>
              <a:rPr lang="en-US" dirty="0" err="1" smtClean="0"/>
              <a:t>maiorepudam</a:t>
            </a:r>
            <a:r>
              <a:rPr lang="en-US" dirty="0" smtClean="0"/>
              <a:t> </a:t>
            </a:r>
            <a:r>
              <a:rPr lang="en-US" dirty="0" err="1" smtClean="0"/>
              <a:t>exernatis</a:t>
            </a:r>
            <a:r>
              <a:rPr lang="en-US" dirty="0" smtClean="0"/>
              <a:t> con </a:t>
            </a:r>
            <a:r>
              <a:rPr lang="en-US" dirty="0" err="1" smtClean="0"/>
              <a:t>nonsequ</a:t>
            </a:r>
            <a:r>
              <a:rPr lang="en-US" dirty="0" smtClean="0"/>
              <a:t> </a:t>
            </a:r>
            <a:r>
              <a:rPr lang="en-US" dirty="0" err="1" smtClean="0"/>
              <a:t>atquaecta</a:t>
            </a:r>
            <a:r>
              <a:rPr lang="en-US" dirty="0" smtClean="0"/>
              <a:t> </a:t>
            </a:r>
            <a:r>
              <a:rPr lang="en-US" dirty="0" err="1" smtClean="0"/>
              <a:t>dolut</a:t>
            </a:r>
            <a:r>
              <a:rPr lang="en-US" dirty="0" smtClean="0"/>
              <a:t> </a:t>
            </a:r>
            <a:r>
              <a:rPr lang="en-US" dirty="0" err="1" smtClean="0"/>
              <a:t>exero</a:t>
            </a:r>
            <a:r>
              <a:rPr lang="en-US" dirty="0" smtClean="0"/>
              <a:t> </a:t>
            </a:r>
            <a:r>
              <a:rPr lang="en-US" dirty="0" err="1" smtClean="0"/>
              <a:t>venis</a:t>
            </a:r>
            <a:r>
              <a:rPr lang="en-US" dirty="0" smtClean="0"/>
              <a:t> </a:t>
            </a:r>
            <a:r>
              <a:rPr lang="en-US" dirty="0" err="1" smtClean="0"/>
              <a:t>exernat</a:t>
            </a:r>
            <a:r>
              <a:rPr lang="en-US" dirty="0" smtClean="0"/>
              <a:t> </a:t>
            </a:r>
            <a:r>
              <a:rPr lang="en-US" dirty="0" err="1" smtClean="0"/>
              <a:t>entibus</a:t>
            </a:r>
            <a:r>
              <a:rPr lang="en-US" dirty="0" smtClean="0"/>
              <a:t> </a:t>
            </a:r>
            <a:r>
              <a:rPr lang="en-US" dirty="0" err="1" smtClean="0"/>
              <a:t>quodi</a:t>
            </a:r>
            <a:r>
              <a:rPr lang="en-US" dirty="0" smtClean="0"/>
              <a:t> </a:t>
            </a:r>
            <a:r>
              <a:rPr lang="en-US" dirty="0" err="1" smtClean="0"/>
              <a:t>opta</a:t>
            </a:r>
            <a:r>
              <a:rPr lang="en-US" dirty="0" smtClean="0"/>
              <a:t> </a:t>
            </a:r>
            <a:r>
              <a:rPr lang="en-US" dirty="0" err="1" smtClean="0"/>
              <a:t>simusam</a:t>
            </a:r>
            <a:r>
              <a:rPr lang="en-US" dirty="0" smtClean="0"/>
              <a:t>, </a:t>
            </a:r>
            <a:r>
              <a:rPr lang="en-US" dirty="0" err="1" smtClean="0"/>
              <a:t>auditem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66777" y="1289497"/>
            <a:ext cx="9326880" cy="902129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651355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30271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5406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60542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5677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90813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594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21084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QUIAEPERSPE NECTECAE </a:t>
            </a:r>
          </a:p>
          <a:p>
            <a:pPr lvl="0"/>
            <a:r>
              <a:rPr lang="en-US" dirty="0" smtClean="0"/>
              <a:t>NIM IN CUS AUT HARU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628336" y="3163112"/>
            <a:ext cx="3564812" cy="3141310"/>
          </a:xfrm>
        </p:spPr>
        <p:txBody>
          <a:bodyPr>
            <a:normAutofit/>
          </a:bodyPr>
          <a:lstStyle>
            <a:lvl1pPr marL="0" indent="0">
              <a:buSzPct val="150000"/>
              <a:buFont typeface="Arial"/>
              <a:buNone/>
              <a:defRPr sz="1300"/>
            </a:lvl1pPr>
          </a:lstStyle>
          <a:p>
            <a:pPr lvl="0"/>
            <a:r>
              <a:rPr lang="en-US" dirty="0" err="1" smtClean="0"/>
              <a:t>Oribus</a:t>
            </a:r>
            <a:r>
              <a:rPr lang="en-US" dirty="0" smtClean="0"/>
              <a:t> </a:t>
            </a:r>
            <a:r>
              <a:rPr lang="en-US" dirty="0" err="1" smtClean="0"/>
              <a:t>aboria</a:t>
            </a:r>
            <a:r>
              <a:rPr lang="en-US" dirty="0" smtClean="0"/>
              <a:t> </a:t>
            </a:r>
            <a:r>
              <a:rPr lang="en-US" dirty="0" err="1" smtClean="0"/>
              <a:t>vit</a:t>
            </a:r>
            <a:r>
              <a:rPr lang="en-US" dirty="0" smtClean="0"/>
              <a:t> </a:t>
            </a:r>
            <a:r>
              <a:rPr lang="en-US" dirty="0" err="1" smtClean="0"/>
              <a:t>pe</a:t>
            </a:r>
            <a:r>
              <a:rPr lang="en-US" dirty="0" smtClean="0"/>
              <a:t> </a:t>
            </a:r>
            <a:r>
              <a:rPr lang="en-US" dirty="0" err="1" smtClean="0"/>
              <a:t>es</a:t>
            </a:r>
            <a:r>
              <a:rPr lang="en-US" dirty="0" smtClean="0"/>
              <a:t> </a:t>
            </a:r>
            <a:r>
              <a:rPr lang="en-US" dirty="0" err="1" smtClean="0"/>
              <a:t>delecat</a:t>
            </a:r>
            <a:r>
              <a:rPr lang="en-US" dirty="0" smtClean="0"/>
              <a:t>. Nam </a:t>
            </a:r>
            <a:r>
              <a:rPr lang="en-US" dirty="0" err="1" smtClean="0"/>
              <a:t>aliqui</a:t>
            </a:r>
            <a:r>
              <a:rPr lang="en-US" dirty="0" smtClean="0"/>
              <a:t> </a:t>
            </a:r>
            <a:r>
              <a:rPr lang="en-US" dirty="0" err="1" smtClean="0"/>
              <a:t>repe</a:t>
            </a:r>
            <a:r>
              <a:rPr lang="en-US" dirty="0" smtClean="0"/>
              <a:t> ide </a:t>
            </a:r>
            <a:r>
              <a:rPr lang="en-US" dirty="0" err="1" smtClean="0"/>
              <a:t>incture</a:t>
            </a:r>
            <a:r>
              <a:rPr lang="en-US" dirty="0" smtClean="0"/>
              <a:t> </a:t>
            </a:r>
            <a:r>
              <a:rPr lang="en-US" dirty="0" err="1" smtClean="0"/>
              <a:t>mporerest</a:t>
            </a:r>
            <a:r>
              <a:rPr lang="en-US" dirty="0" smtClean="0"/>
              <a:t>, </a:t>
            </a:r>
            <a:r>
              <a:rPr lang="en-US" dirty="0" err="1" smtClean="0"/>
              <a:t>coraestiam</a:t>
            </a:r>
            <a:r>
              <a:rPr lang="en-US" dirty="0" smtClean="0"/>
              <a:t>, </a:t>
            </a:r>
            <a:r>
              <a:rPr lang="en-US" dirty="0" err="1" smtClean="0"/>
              <a:t>omnis</a:t>
            </a:r>
            <a:r>
              <a:rPr lang="en-US" dirty="0" smtClean="0"/>
              <a:t> cum </a:t>
            </a:r>
            <a:r>
              <a:rPr lang="en-US" dirty="0" err="1" smtClean="0"/>
              <a:t>quias</a:t>
            </a:r>
            <a:r>
              <a:rPr lang="en-US" dirty="0" smtClean="0"/>
              <a:t> </a:t>
            </a:r>
            <a:r>
              <a:rPr lang="en-US" dirty="0" err="1" smtClean="0"/>
              <a:t>etus,eri</a:t>
            </a:r>
            <a:r>
              <a:rPr lang="en-US" dirty="0" smtClean="0"/>
              <a:t> </a:t>
            </a:r>
            <a:r>
              <a:rPr lang="en-US" dirty="0" err="1" smtClean="0"/>
              <a:t>sus</a:t>
            </a:r>
            <a:r>
              <a:rPr lang="en-US" dirty="0" smtClean="0"/>
              <a:t> </a:t>
            </a:r>
            <a:r>
              <a:rPr lang="en-US" dirty="0" err="1" smtClean="0"/>
              <a:t>moloremolut</a:t>
            </a:r>
            <a:r>
              <a:rPr lang="en-US" dirty="0" smtClean="0"/>
              <a:t> lab is </a:t>
            </a:r>
            <a:r>
              <a:rPr lang="en-US" dirty="0" err="1" smtClean="0"/>
              <a:t>aceperum</a:t>
            </a:r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• </a:t>
            </a:r>
            <a:r>
              <a:rPr lang="en-US" dirty="0" err="1" smtClean="0"/>
              <a:t>Enis</a:t>
            </a:r>
            <a:r>
              <a:rPr lang="en-US" dirty="0" smtClean="0"/>
              <a:t> </a:t>
            </a:r>
            <a:r>
              <a:rPr lang="en-US" dirty="0" err="1" smtClean="0"/>
              <a:t>aut</a:t>
            </a:r>
            <a:r>
              <a:rPr lang="en-US" dirty="0" smtClean="0"/>
              <a:t> fugit et </a:t>
            </a:r>
            <a:r>
              <a:rPr lang="en-US" dirty="0" err="1" smtClean="0"/>
              <a:t>exerum</a:t>
            </a:r>
            <a:r>
              <a:rPr lang="en-US" dirty="0" smtClean="0"/>
              <a:t> </a:t>
            </a:r>
            <a:r>
              <a:rPr lang="en-US" dirty="0" err="1" smtClean="0"/>
              <a:t>lacillora</a:t>
            </a:r>
            <a:r>
              <a:rPr lang="en-US" dirty="0" smtClean="0"/>
              <a:t> </a:t>
            </a:r>
            <a:r>
              <a:rPr lang="en-US" dirty="0" err="1" smtClean="0"/>
              <a:t>doluptatur</a:t>
            </a:r>
            <a:r>
              <a:rPr lang="en-US" dirty="0" smtClean="0"/>
              <a:t> re </a:t>
            </a:r>
            <a:r>
              <a:rPr lang="en-US" dirty="0" err="1" smtClean="0"/>
              <a:t>idestiis</a:t>
            </a:r>
            <a:r>
              <a:rPr lang="en-US" dirty="0" smtClean="0"/>
              <a:t> </a:t>
            </a:r>
            <a:r>
              <a:rPr lang="en-US" dirty="0" err="1" smtClean="0"/>
              <a:t>ilit</a:t>
            </a:r>
            <a:r>
              <a:rPr lang="en-US" dirty="0" smtClean="0"/>
              <a:t> </a:t>
            </a:r>
            <a:r>
              <a:rPr lang="en-US" dirty="0" err="1" smtClean="0"/>
              <a:t>omnim</a:t>
            </a:r>
            <a:r>
              <a:rPr lang="en-US" dirty="0" smtClean="0"/>
              <a:t> </a:t>
            </a:r>
            <a:r>
              <a:rPr lang="en-US" dirty="0" err="1" smtClean="0"/>
              <a:t>dit</a:t>
            </a:r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• </a:t>
            </a:r>
            <a:r>
              <a:rPr lang="en-US" dirty="0" err="1" smtClean="0"/>
              <a:t>Simenih</a:t>
            </a:r>
            <a:r>
              <a:rPr lang="en-US" dirty="0" smtClean="0"/>
              <a:t> </a:t>
            </a:r>
            <a:r>
              <a:rPr lang="en-US" dirty="0" err="1" smtClean="0"/>
              <a:t>itatet</a:t>
            </a:r>
            <a:r>
              <a:rPr lang="en-US" dirty="0" smtClean="0"/>
              <a:t> </a:t>
            </a:r>
            <a:r>
              <a:rPr lang="en-US" dirty="0" err="1" smtClean="0"/>
              <a:t>aut</a:t>
            </a:r>
            <a:r>
              <a:rPr lang="en-US" dirty="0" smtClean="0"/>
              <a:t> </a:t>
            </a:r>
            <a:r>
              <a:rPr lang="en-US" dirty="0" err="1" smtClean="0"/>
              <a:t>aliciatiunt</a:t>
            </a:r>
            <a:r>
              <a:rPr lang="en-US" dirty="0" smtClean="0"/>
              <a:t> arum 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• </a:t>
            </a:r>
            <a:r>
              <a:rPr lang="en-US" dirty="0" err="1" smtClean="0"/>
              <a:t>Aalibusc</a:t>
            </a:r>
            <a:r>
              <a:rPr lang="en-US" dirty="0" smtClean="0"/>
              <a:t> </a:t>
            </a:r>
            <a:r>
              <a:rPr lang="en-US" dirty="0" err="1" smtClean="0"/>
              <a:t>iliquo</a:t>
            </a:r>
            <a:r>
              <a:rPr lang="en-US" dirty="0" smtClean="0"/>
              <a:t> </a:t>
            </a:r>
            <a:r>
              <a:rPr lang="en-US" dirty="0" err="1" smtClean="0"/>
              <a:t>quodis</a:t>
            </a:r>
            <a:r>
              <a:rPr lang="en-US" dirty="0" smtClean="0"/>
              <a:t> </a:t>
            </a:r>
            <a:r>
              <a:rPr lang="en-US" dirty="0" err="1" smtClean="0"/>
              <a:t>aliquat</a:t>
            </a:r>
            <a:r>
              <a:rPr lang="en-US" dirty="0" smtClean="0"/>
              <a:t> </a:t>
            </a:r>
            <a:r>
              <a:rPr lang="en-US" dirty="0" err="1" smtClean="0"/>
              <a:t>inus</a:t>
            </a:r>
            <a:r>
              <a:rPr lang="en-US" dirty="0" smtClean="0"/>
              <a:t> </a:t>
            </a:r>
            <a:r>
              <a:rPr lang="en-US" dirty="0" err="1" smtClean="0"/>
              <a:t>duciminiscia</a:t>
            </a:r>
            <a:r>
              <a:rPr lang="en-US" dirty="0" smtClean="0"/>
              <a:t> dolor </a:t>
            </a:r>
            <a:r>
              <a:rPr lang="en-US" dirty="0" err="1" smtClean="0"/>
              <a:t>aceatis</a:t>
            </a:r>
            <a:r>
              <a:rPr lang="en-US" dirty="0" smtClean="0"/>
              <a:t> </a:t>
            </a:r>
            <a:r>
              <a:rPr lang="en-US" dirty="0" err="1" smtClean="0"/>
              <a:t>necto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5"/>
          </p:nvPr>
        </p:nvSpPr>
        <p:spPr>
          <a:xfrm>
            <a:off x="866735" y="3163429"/>
            <a:ext cx="5536686" cy="1950502"/>
          </a:xfrm>
        </p:spPr>
        <p:txBody>
          <a:bodyPr>
            <a:normAutofit/>
          </a:bodyPr>
          <a:lstStyle>
            <a:lvl1pPr marL="0" indent="0">
              <a:buNone/>
              <a:defRPr sz="1700"/>
            </a:lvl1pPr>
          </a:lstStyle>
          <a:p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25897" y="214916"/>
            <a:ext cx="3598002" cy="297574"/>
          </a:xfrm>
        </p:spPr>
        <p:txBody>
          <a:bodyPr>
            <a:noAutofit/>
          </a:bodyPr>
          <a:lstStyle>
            <a:lvl1pPr marL="0" indent="0">
              <a:buNone/>
              <a:defRPr sz="800" b="1" baseline="0">
                <a:solidFill>
                  <a:srgbClr val="3D9AD7"/>
                </a:solidFill>
              </a:defRPr>
            </a:lvl1pPr>
          </a:lstStyle>
          <a:p>
            <a:pPr lvl="0"/>
            <a:r>
              <a:rPr lang="en-US" dirty="0" smtClean="0"/>
              <a:t>Nov 6, 2015 Union Global Partners Limited Me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555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1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011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6777" y="2666073"/>
            <a:ext cx="9326880" cy="1147832"/>
          </a:xfrm>
        </p:spPr>
        <p:txBody>
          <a:bodyPr anchor="t">
            <a:noAutofit/>
          </a:bodyPr>
          <a:lstStyle>
            <a:lvl1pPr algn="l">
              <a:defRPr sz="1300" b="0" i="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err="1" smtClean="0"/>
              <a:t>Quossunt</a:t>
            </a:r>
            <a:r>
              <a:rPr lang="en-US" dirty="0" smtClean="0"/>
              <a:t>, </a:t>
            </a:r>
            <a:r>
              <a:rPr lang="en-US" dirty="0" err="1" smtClean="0"/>
              <a:t>sitionsercia</a:t>
            </a:r>
            <a:r>
              <a:rPr lang="en-US" dirty="0" smtClean="0"/>
              <a:t> </a:t>
            </a:r>
            <a:r>
              <a:rPr lang="en-US" dirty="0" err="1" smtClean="0"/>
              <a:t>voluptat</a:t>
            </a:r>
            <a:r>
              <a:rPr lang="en-US" dirty="0" smtClean="0"/>
              <a:t> </a:t>
            </a:r>
            <a:r>
              <a:rPr lang="en-US" dirty="0" err="1" smtClean="0"/>
              <a:t>Nullaciundi</a:t>
            </a:r>
            <a:r>
              <a:rPr lang="en-US" dirty="0" smtClean="0"/>
              <a:t> </a:t>
            </a:r>
            <a:r>
              <a:rPr lang="en-US" dirty="0" err="1" smtClean="0"/>
              <a:t>autae</a:t>
            </a:r>
            <a:r>
              <a:rPr lang="en-US" dirty="0" smtClean="0"/>
              <a:t> </a:t>
            </a:r>
            <a:r>
              <a:rPr lang="en-US" dirty="0" err="1" smtClean="0"/>
              <a:t>pelia</a:t>
            </a:r>
            <a:r>
              <a:rPr lang="en-US" dirty="0" smtClean="0"/>
              <a:t> con </a:t>
            </a:r>
            <a:r>
              <a:rPr lang="en-US" dirty="0" err="1" smtClean="0"/>
              <a:t>exped</a:t>
            </a:r>
            <a:r>
              <a:rPr lang="en-US" dirty="0" smtClean="0"/>
              <a:t> et </a:t>
            </a:r>
            <a:r>
              <a:rPr lang="en-US" dirty="0" err="1" smtClean="0"/>
              <a:t>pe</a:t>
            </a:r>
            <a:r>
              <a:rPr lang="en-US" dirty="0" smtClean="0"/>
              <a:t> </a:t>
            </a:r>
            <a:r>
              <a:rPr lang="en-US" dirty="0" err="1" smtClean="0"/>
              <a:t>pe</a:t>
            </a:r>
            <a:r>
              <a:rPr lang="en-US" dirty="0" smtClean="0"/>
              <a:t> </a:t>
            </a:r>
            <a:r>
              <a:rPr lang="en-US" dirty="0" err="1" smtClean="0"/>
              <a:t>sanda</a:t>
            </a:r>
            <a:r>
              <a:rPr lang="en-US" dirty="0" smtClean="0"/>
              <a:t> et </a:t>
            </a:r>
            <a:r>
              <a:rPr lang="en-US" dirty="0" err="1" smtClean="0"/>
              <a:t>quiatemquo</a:t>
            </a:r>
            <a:r>
              <a:rPr lang="en-US" dirty="0" smtClean="0"/>
              <a:t> </a:t>
            </a:r>
            <a:r>
              <a:rPr lang="en-US" dirty="0" err="1" smtClean="0"/>
              <a:t>tempeditasi</a:t>
            </a:r>
            <a:r>
              <a:rPr lang="en-US" dirty="0" smtClean="0"/>
              <a:t> </a:t>
            </a:r>
            <a:r>
              <a:rPr lang="en-US" dirty="0" err="1" smtClean="0"/>
              <a:t>ditem</a:t>
            </a:r>
            <a:r>
              <a:rPr lang="en-US" dirty="0" smtClean="0"/>
              <a:t> quam </a:t>
            </a:r>
            <a:r>
              <a:rPr lang="en-US" dirty="0" err="1" smtClean="0"/>
              <a:t>eaquisi</a:t>
            </a:r>
            <a:r>
              <a:rPr lang="en-US" dirty="0" smtClean="0"/>
              <a:t> </a:t>
            </a:r>
            <a:r>
              <a:rPr lang="en-US" dirty="0" err="1" smtClean="0"/>
              <a:t>quia</a:t>
            </a:r>
            <a:r>
              <a:rPr lang="en-US" dirty="0" smtClean="0"/>
              <a:t> </a:t>
            </a:r>
            <a:r>
              <a:rPr lang="en-US" dirty="0" err="1" smtClean="0"/>
              <a:t>enihillab</a:t>
            </a:r>
            <a:r>
              <a:rPr lang="en-US" dirty="0" smtClean="0"/>
              <a:t> </a:t>
            </a:r>
            <a:r>
              <a:rPr lang="en-US" dirty="0" err="1" smtClean="0"/>
              <a:t>iurenim</a:t>
            </a:r>
            <a:r>
              <a:rPr lang="en-US" dirty="0" smtClean="0"/>
              <a:t> </a:t>
            </a:r>
            <a:r>
              <a:rPr lang="en-US" dirty="0" err="1" smtClean="0"/>
              <a:t>facessi</a:t>
            </a:r>
            <a:r>
              <a:rPr lang="en-US" dirty="0" smtClean="0"/>
              <a:t> </a:t>
            </a:r>
            <a:r>
              <a:rPr lang="en-US" dirty="0" err="1" smtClean="0"/>
              <a:t>optaepelesti</a:t>
            </a:r>
            <a:r>
              <a:rPr lang="en-US" dirty="0" smtClean="0"/>
              <a:t> non </a:t>
            </a:r>
            <a:r>
              <a:rPr lang="en-US" dirty="0" err="1" smtClean="0"/>
              <a:t>perum</a:t>
            </a:r>
            <a:r>
              <a:rPr lang="en-US" dirty="0" smtClean="0"/>
              <a:t> </a:t>
            </a:r>
            <a:r>
              <a:rPr lang="en-US" dirty="0" err="1" smtClean="0"/>
              <a:t>illuptam</a:t>
            </a:r>
            <a:r>
              <a:rPr lang="en-US" dirty="0" smtClean="0"/>
              <a:t> et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quiata</a:t>
            </a:r>
            <a:r>
              <a:rPr lang="en-US" dirty="0" smtClean="0"/>
              <a:t> </a:t>
            </a:r>
            <a:r>
              <a:rPr lang="en-US" dirty="0" err="1" smtClean="0"/>
              <a:t>aut</a:t>
            </a:r>
            <a:r>
              <a:rPr lang="en-US" dirty="0" smtClean="0"/>
              <a:t> </a:t>
            </a:r>
            <a:r>
              <a:rPr lang="en-US" dirty="0" err="1" smtClean="0"/>
              <a:t>videlec</a:t>
            </a:r>
            <a:r>
              <a:rPr lang="en-US" dirty="0" smtClean="0"/>
              <a:t> </a:t>
            </a:r>
            <a:r>
              <a:rPr lang="en-US" dirty="0" err="1" smtClean="0"/>
              <a:t>uptatiae</a:t>
            </a:r>
            <a:r>
              <a:rPr lang="en-US" dirty="0" smtClean="0"/>
              <a:t> lam quam et </a:t>
            </a:r>
            <a:r>
              <a:rPr lang="en-US" dirty="0" err="1" smtClean="0"/>
              <a:t>verum</a:t>
            </a:r>
            <a:r>
              <a:rPr lang="en-US" dirty="0" smtClean="0"/>
              <a:t> </a:t>
            </a:r>
            <a:r>
              <a:rPr lang="en-US" dirty="0" err="1" smtClean="0"/>
              <a:t>int</a:t>
            </a:r>
            <a:r>
              <a:rPr lang="en-US" dirty="0" smtClean="0"/>
              <a:t>, </a:t>
            </a:r>
            <a:r>
              <a:rPr lang="en-US" dirty="0" err="1" smtClean="0"/>
              <a:t>quas</a:t>
            </a:r>
            <a:r>
              <a:rPr lang="en-US" dirty="0" smtClean="0"/>
              <a:t> </a:t>
            </a:r>
            <a:r>
              <a:rPr lang="en-US" dirty="0" err="1" smtClean="0"/>
              <a:t>nimi</a:t>
            </a:r>
            <a:r>
              <a:rPr lang="en-US" dirty="0" smtClean="0"/>
              <a:t>, </a:t>
            </a:r>
            <a:r>
              <a:rPr lang="en-US" dirty="0" err="1" smtClean="0"/>
              <a:t>te</a:t>
            </a:r>
            <a:r>
              <a:rPr lang="en-US" dirty="0" smtClean="0"/>
              <a:t> et qui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ccaboris</a:t>
            </a:r>
            <a:r>
              <a:rPr lang="en-US" dirty="0" smtClean="0"/>
              <a:t> </a:t>
            </a:r>
            <a:r>
              <a:rPr lang="en-US" dirty="0" err="1" smtClean="0"/>
              <a:t>excea</a:t>
            </a:r>
            <a:r>
              <a:rPr lang="en-US" dirty="0" smtClean="0"/>
              <a:t> con </a:t>
            </a:r>
            <a:r>
              <a:rPr lang="en-US" dirty="0" err="1" smtClean="0"/>
              <a:t>nis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cea</a:t>
            </a:r>
            <a:r>
              <a:rPr lang="en-US" dirty="0" smtClean="0"/>
              <a:t> </a:t>
            </a:r>
            <a:r>
              <a:rPr lang="en-US" dirty="0" err="1" smtClean="0"/>
              <a:t>nonsequae</a:t>
            </a:r>
            <a:r>
              <a:rPr lang="en-US" dirty="0" smtClean="0"/>
              <a:t> </a:t>
            </a:r>
            <a:r>
              <a:rPr lang="en-US" dirty="0" err="1" smtClean="0"/>
              <a:t>lique</a:t>
            </a:r>
            <a:r>
              <a:rPr lang="en-US" dirty="0" smtClean="0"/>
              <a:t> </a:t>
            </a:r>
            <a:r>
              <a:rPr lang="en-US" dirty="0" err="1" smtClean="0"/>
              <a:t>solenis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intur</a:t>
            </a:r>
            <a:r>
              <a:rPr lang="en-US" dirty="0" smtClean="0"/>
              <a:t> </a:t>
            </a:r>
            <a:r>
              <a:rPr lang="en-US" dirty="0" err="1" smtClean="0"/>
              <a:t>sinveni</a:t>
            </a:r>
            <a:r>
              <a:rPr lang="en-US" dirty="0" smtClean="0"/>
              <a:t> </a:t>
            </a:r>
            <a:r>
              <a:rPr lang="en-US" dirty="0" err="1" smtClean="0"/>
              <a:t>dolum</a:t>
            </a:r>
            <a:r>
              <a:rPr lang="en-US" dirty="0" smtClean="0"/>
              <a:t> </a:t>
            </a:r>
            <a:r>
              <a:rPr lang="en-US" dirty="0" err="1" smtClean="0"/>
              <a:t>aliasperspit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66777" y="1289497"/>
            <a:ext cx="9326880" cy="902129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tx1"/>
                </a:solidFill>
              </a:defRPr>
            </a:lvl1pPr>
            <a:lvl2pPr marL="651355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30271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5406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60542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5677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90813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594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21084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ELES PA CUS EST, QUATEST IANDANDI SIM ET </a:t>
            </a:r>
          </a:p>
          <a:p>
            <a:pPr lvl="0"/>
            <a:r>
              <a:rPr lang="en-US" dirty="0" smtClean="0"/>
              <a:t>PORRUM HARCHIL LIQUAE EOSANTOTATEM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66737" y="4033658"/>
            <a:ext cx="9175034" cy="782209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err="1" smtClean="0"/>
              <a:t>Quossunt</a:t>
            </a:r>
            <a:r>
              <a:rPr lang="en-US" dirty="0" smtClean="0"/>
              <a:t>, </a:t>
            </a:r>
            <a:r>
              <a:rPr lang="en-US" dirty="0" err="1" smtClean="0"/>
              <a:t>sitionsercia</a:t>
            </a:r>
            <a:r>
              <a:rPr lang="en-US" dirty="0" smtClean="0"/>
              <a:t> </a:t>
            </a:r>
            <a:r>
              <a:rPr lang="en-US" dirty="0" err="1" smtClean="0"/>
              <a:t>voluptat</a:t>
            </a:r>
            <a:r>
              <a:rPr lang="en-US" dirty="0" smtClean="0"/>
              <a:t> </a:t>
            </a:r>
            <a:r>
              <a:rPr lang="en-US" dirty="0" err="1" smtClean="0"/>
              <a:t>Nullaciundi</a:t>
            </a:r>
            <a:r>
              <a:rPr lang="en-US" dirty="0" smtClean="0"/>
              <a:t> </a:t>
            </a:r>
            <a:r>
              <a:rPr lang="en-US" dirty="0" err="1" smtClean="0"/>
              <a:t>autae</a:t>
            </a:r>
            <a:r>
              <a:rPr lang="en-US" dirty="0" smtClean="0"/>
              <a:t> </a:t>
            </a:r>
            <a:r>
              <a:rPr lang="en-US" dirty="0" err="1" smtClean="0"/>
              <a:t>pelia</a:t>
            </a:r>
            <a:r>
              <a:rPr lang="en-US" dirty="0" smtClean="0"/>
              <a:t> con </a:t>
            </a:r>
            <a:r>
              <a:rPr lang="en-US" dirty="0" err="1" smtClean="0"/>
              <a:t>exped</a:t>
            </a:r>
            <a:r>
              <a:rPr lang="en-US" dirty="0" smtClean="0"/>
              <a:t> et </a:t>
            </a:r>
            <a:r>
              <a:rPr lang="en-US" dirty="0" err="1" smtClean="0"/>
              <a:t>pe</a:t>
            </a:r>
            <a:r>
              <a:rPr lang="en-US" dirty="0" smtClean="0"/>
              <a:t> </a:t>
            </a:r>
            <a:r>
              <a:rPr lang="en-US" dirty="0" err="1" smtClean="0"/>
              <a:t>pe</a:t>
            </a:r>
            <a:r>
              <a:rPr lang="en-US" dirty="0" smtClean="0"/>
              <a:t> </a:t>
            </a:r>
            <a:r>
              <a:rPr lang="en-US" dirty="0" err="1" smtClean="0"/>
              <a:t>sanda</a:t>
            </a:r>
            <a:r>
              <a:rPr lang="en-US" dirty="0" smtClean="0"/>
              <a:t> et </a:t>
            </a:r>
            <a:r>
              <a:rPr lang="en-US" dirty="0" err="1" smtClean="0"/>
              <a:t>quiatemquo</a:t>
            </a:r>
            <a:r>
              <a:rPr lang="en-US" dirty="0" smtClean="0"/>
              <a:t> </a:t>
            </a:r>
            <a:r>
              <a:rPr lang="en-US" dirty="0" err="1" smtClean="0"/>
              <a:t>tempeditasi</a:t>
            </a:r>
            <a:r>
              <a:rPr lang="en-US" dirty="0" smtClean="0"/>
              <a:t> </a:t>
            </a:r>
            <a:r>
              <a:rPr lang="en-US" dirty="0" err="1" smtClean="0"/>
              <a:t>ditem</a:t>
            </a:r>
            <a:r>
              <a:rPr lang="en-US" dirty="0" smtClean="0"/>
              <a:t> quam </a:t>
            </a:r>
            <a:r>
              <a:rPr lang="en-US" dirty="0" err="1" smtClean="0"/>
              <a:t>eaquisi</a:t>
            </a:r>
            <a:r>
              <a:rPr lang="en-US" dirty="0" smtClean="0"/>
              <a:t> </a:t>
            </a:r>
            <a:r>
              <a:rPr lang="en-US" dirty="0" err="1" smtClean="0"/>
              <a:t>quia</a:t>
            </a:r>
            <a:r>
              <a:rPr lang="en-US" dirty="0" smtClean="0"/>
              <a:t> </a:t>
            </a:r>
            <a:r>
              <a:rPr lang="en-US" dirty="0" err="1" smtClean="0"/>
              <a:t>enihillab</a:t>
            </a:r>
            <a:r>
              <a:rPr lang="en-US" dirty="0" smtClean="0"/>
              <a:t> </a:t>
            </a:r>
            <a:r>
              <a:rPr lang="en-US" dirty="0" err="1" smtClean="0"/>
              <a:t>iurenim</a:t>
            </a:r>
            <a:r>
              <a:rPr lang="en-US" dirty="0" smtClean="0"/>
              <a:t> </a:t>
            </a:r>
            <a:r>
              <a:rPr lang="en-US" dirty="0" err="1" smtClean="0"/>
              <a:t>facessi</a:t>
            </a:r>
            <a:r>
              <a:rPr lang="en-US" dirty="0" smtClean="0"/>
              <a:t> </a:t>
            </a:r>
            <a:r>
              <a:rPr lang="en-US" dirty="0" err="1" smtClean="0"/>
              <a:t>optaepelesti</a:t>
            </a:r>
            <a:r>
              <a:rPr lang="en-US" dirty="0" smtClean="0"/>
              <a:t> non </a:t>
            </a:r>
            <a:r>
              <a:rPr lang="en-US" dirty="0" err="1" smtClean="0"/>
              <a:t>perum</a:t>
            </a:r>
            <a:r>
              <a:rPr lang="en-US" dirty="0" smtClean="0"/>
              <a:t> </a:t>
            </a:r>
            <a:r>
              <a:rPr lang="en-US" dirty="0" err="1" smtClean="0"/>
              <a:t>illuptam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866737" y="5190924"/>
            <a:ext cx="9175034" cy="78221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err="1" smtClean="0"/>
              <a:t>Quossunt</a:t>
            </a:r>
            <a:r>
              <a:rPr lang="en-US" dirty="0" smtClean="0"/>
              <a:t>, </a:t>
            </a:r>
            <a:r>
              <a:rPr lang="en-US" dirty="0" err="1" smtClean="0"/>
              <a:t>sitionsercia</a:t>
            </a:r>
            <a:r>
              <a:rPr lang="en-US" dirty="0" smtClean="0"/>
              <a:t> </a:t>
            </a:r>
            <a:r>
              <a:rPr lang="en-US" dirty="0" err="1" smtClean="0"/>
              <a:t>voluptat</a:t>
            </a:r>
            <a:r>
              <a:rPr lang="en-US" dirty="0" smtClean="0"/>
              <a:t> </a:t>
            </a:r>
            <a:r>
              <a:rPr lang="en-US" dirty="0" err="1" smtClean="0"/>
              <a:t>Nullaciundi</a:t>
            </a:r>
            <a:r>
              <a:rPr lang="en-US" dirty="0" smtClean="0"/>
              <a:t> </a:t>
            </a:r>
            <a:r>
              <a:rPr lang="en-US" dirty="0" err="1" smtClean="0"/>
              <a:t>autae</a:t>
            </a:r>
            <a:r>
              <a:rPr lang="en-US" dirty="0" smtClean="0"/>
              <a:t> </a:t>
            </a:r>
            <a:r>
              <a:rPr lang="en-US" dirty="0" err="1" smtClean="0"/>
              <a:t>pelia</a:t>
            </a:r>
            <a:r>
              <a:rPr lang="en-US" dirty="0" smtClean="0"/>
              <a:t> con </a:t>
            </a:r>
            <a:r>
              <a:rPr lang="en-US" dirty="0" err="1" smtClean="0"/>
              <a:t>exped</a:t>
            </a:r>
            <a:r>
              <a:rPr lang="en-US" dirty="0" smtClean="0"/>
              <a:t> et </a:t>
            </a:r>
            <a:r>
              <a:rPr lang="en-US" dirty="0" err="1" smtClean="0"/>
              <a:t>pe</a:t>
            </a:r>
            <a:r>
              <a:rPr lang="en-US" dirty="0" smtClean="0"/>
              <a:t> </a:t>
            </a:r>
            <a:r>
              <a:rPr lang="en-US" dirty="0" err="1" smtClean="0"/>
              <a:t>pe</a:t>
            </a:r>
            <a:r>
              <a:rPr lang="en-US" dirty="0" smtClean="0"/>
              <a:t> </a:t>
            </a:r>
            <a:r>
              <a:rPr lang="en-US" dirty="0" err="1" smtClean="0"/>
              <a:t>sanda</a:t>
            </a:r>
            <a:r>
              <a:rPr lang="en-US" dirty="0" smtClean="0"/>
              <a:t> et </a:t>
            </a:r>
            <a:r>
              <a:rPr lang="en-US" dirty="0" err="1" smtClean="0"/>
              <a:t>quiatemquo</a:t>
            </a:r>
            <a:r>
              <a:rPr lang="en-US" dirty="0" smtClean="0"/>
              <a:t> </a:t>
            </a:r>
            <a:r>
              <a:rPr lang="en-US" dirty="0" err="1" smtClean="0"/>
              <a:t>tempeditasi</a:t>
            </a:r>
            <a:r>
              <a:rPr lang="en-US" dirty="0" smtClean="0"/>
              <a:t> </a:t>
            </a:r>
            <a:r>
              <a:rPr lang="en-US" dirty="0" err="1" smtClean="0"/>
              <a:t>ditem</a:t>
            </a:r>
            <a:r>
              <a:rPr lang="en-US" dirty="0" smtClean="0"/>
              <a:t> quam </a:t>
            </a:r>
            <a:r>
              <a:rPr lang="en-US" dirty="0" err="1" smtClean="0"/>
              <a:t>eaquisi</a:t>
            </a:r>
            <a:r>
              <a:rPr lang="en-US" dirty="0" smtClean="0"/>
              <a:t> </a:t>
            </a:r>
            <a:r>
              <a:rPr lang="en-US" dirty="0" err="1" smtClean="0"/>
              <a:t>quia</a:t>
            </a:r>
            <a:r>
              <a:rPr lang="en-US" dirty="0" smtClean="0"/>
              <a:t> </a:t>
            </a:r>
            <a:r>
              <a:rPr lang="en-US" dirty="0" err="1" smtClean="0"/>
              <a:t>enihillab</a:t>
            </a:r>
            <a:r>
              <a:rPr lang="en-US" dirty="0" smtClean="0"/>
              <a:t> </a:t>
            </a:r>
            <a:r>
              <a:rPr lang="en-US" dirty="0" err="1" smtClean="0"/>
              <a:t>iurenim</a:t>
            </a:r>
            <a:r>
              <a:rPr lang="en-US" dirty="0" smtClean="0"/>
              <a:t> </a:t>
            </a:r>
            <a:r>
              <a:rPr lang="en-US" dirty="0" err="1" smtClean="0"/>
              <a:t>facessi</a:t>
            </a:r>
            <a:r>
              <a:rPr lang="en-US" dirty="0" smtClean="0"/>
              <a:t> </a:t>
            </a:r>
            <a:r>
              <a:rPr lang="en-US" dirty="0" err="1" smtClean="0"/>
              <a:t>optaepelesti</a:t>
            </a:r>
            <a:r>
              <a:rPr lang="en-US" dirty="0" smtClean="0"/>
              <a:t> non </a:t>
            </a:r>
            <a:r>
              <a:rPr lang="en-US" dirty="0" err="1" smtClean="0"/>
              <a:t>perum</a:t>
            </a:r>
            <a:r>
              <a:rPr lang="en-US" dirty="0" smtClean="0"/>
              <a:t> </a:t>
            </a:r>
            <a:r>
              <a:rPr lang="en-US" dirty="0" err="1" smtClean="0"/>
              <a:t>illuptam</a:t>
            </a:r>
            <a:r>
              <a:rPr lang="en-US" dirty="0" smtClean="0"/>
              <a:t> et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quiata</a:t>
            </a:r>
            <a:r>
              <a:rPr lang="en-US" dirty="0" smtClean="0"/>
              <a:t> </a:t>
            </a:r>
            <a:r>
              <a:rPr lang="en-US" dirty="0" err="1" smtClean="0"/>
              <a:t>aut</a:t>
            </a:r>
            <a:r>
              <a:rPr lang="en-US" dirty="0" smtClean="0"/>
              <a:t> </a:t>
            </a:r>
            <a:r>
              <a:rPr lang="en-US" dirty="0" err="1" smtClean="0"/>
              <a:t>videlec</a:t>
            </a:r>
            <a:r>
              <a:rPr lang="en-US" dirty="0" smtClean="0"/>
              <a:t> </a:t>
            </a:r>
            <a:r>
              <a:rPr lang="en-US" dirty="0" err="1" smtClean="0"/>
              <a:t>uptatiae</a:t>
            </a:r>
            <a:r>
              <a:rPr lang="en-US" dirty="0" smtClean="0"/>
              <a:t> lam quam et </a:t>
            </a:r>
            <a:r>
              <a:rPr lang="en-US" dirty="0" err="1" smtClean="0"/>
              <a:t>verum</a:t>
            </a:r>
            <a:r>
              <a:rPr lang="en-US" dirty="0" smtClean="0"/>
              <a:t> </a:t>
            </a:r>
            <a:r>
              <a:rPr lang="en-US" dirty="0" err="1" smtClean="0"/>
              <a:t>int</a:t>
            </a:r>
            <a:r>
              <a:rPr lang="en-US" dirty="0" smtClean="0"/>
              <a:t>, </a:t>
            </a:r>
            <a:r>
              <a:rPr lang="en-US" dirty="0" err="1" smtClean="0"/>
              <a:t>quas</a:t>
            </a:r>
            <a:r>
              <a:rPr lang="en-US" dirty="0" smtClean="0"/>
              <a:t> </a:t>
            </a:r>
            <a:r>
              <a:rPr lang="en-US" dirty="0" err="1" smtClean="0"/>
              <a:t>nimi</a:t>
            </a:r>
            <a:r>
              <a:rPr lang="en-US" dirty="0" smtClean="0"/>
              <a:t>, </a:t>
            </a:r>
            <a:r>
              <a:rPr lang="en-US" dirty="0" err="1" smtClean="0"/>
              <a:t>te</a:t>
            </a:r>
            <a:r>
              <a:rPr lang="en-US" dirty="0" smtClean="0"/>
              <a:t> et qui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accaboris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25897" y="214916"/>
            <a:ext cx="3598002" cy="297574"/>
          </a:xfrm>
        </p:spPr>
        <p:txBody>
          <a:bodyPr>
            <a:noAutofit/>
          </a:bodyPr>
          <a:lstStyle>
            <a:lvl1pPr marL="0" indent="0">
              <a:buNone/>
              <a:defRPr sz="800" b="1" baseline="0">
                <a:solidFill>
                  <a:srgbClr val="3D9AD7"/>
                </a:solidFill>
              </a:defRPr>
            </a:lvl1pPr>
          </a:lstStyle>
          <a:p>
            <a:pPr lvl="0"/>
            <a:r>
              <a:rPr lang="en-US" dirty="0" smtClean="0"/>
              <a:t>Nov 6, 2015 Union Global Partners Limited Me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754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6777" y="2302370"/>
            <a:ext cx="9326880" cy="673380"/>
          </a:xfrm>
        </p:spPr>
        <p:txBody>
          <a:bodyPr anchor="t">
            <a:noAutofit/>
          </a:bodyPr>
          <a:lstStyle>
            <a:lvl1pPr algn="l">
              <a:defRPr sz="1600" b="0" i="0" cap="none">
                <a:solidFill>
                  <a:srgbClr val="3D9AD7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Tem </a:t>
            </a:r>
            <a:r>
              <a:rPr lang="en-US" dirty="0" err="1" smtClean="0"/>
              <a:t>dolupta</a:t>
            </a:r>
            <a:r>
              <a:rPr lang="en-US" dirty="0" smtClean="0"/>
              <a:t> </a:t>
            </a:r>
            <a:r>
              <a:rPr lang="en-US" dirty="0" err="1" smtClean="0"/>
              <a:t>turisqu</a:t>
            </a:r>
            <a:r>
              <a:rPr lang="en-US" dirty="0" smtClean="0"/>
              <a:t> </a:t>
            </a:r>
            <a:r>
              <a:rPr lang="en-US" dirty="0" err="1" smtClean="0"/>
              <a:t>issunt</a:t>
            </a:r>
            <a:r>
              <a:rPr lang="en-US" dirty="0" smtClean="0"/>
              <a:t> </a:t>
            </a:r>
            <a:r>
              <a:rPr lang="en-US" dirty="0" err="1" smtClean="0"/>
              <a:t>laborem</a:t>
            </a:r>
            <a:r>
              <a:rPr lang="en-US" dirty="0" smtClean="0"/>
              <a:t> </a:t>
            </a:r>
            <a:r>
              <a:rPr lang="en-US" dirty="0" err="1" smtClean="0"/>
              <a:t>quodit</a:t>
            </a:r>
            <a:r>
              <a:rPr lang="en-US" dirty="0" smtClean="0"/>
              <a:t> am, </a:t>
            </a:r>
            <a:r>
              <a:rPr lang="en-US" dirty="0" err="1" smtClean="0"/>
              <a:t>quate</a:t>
            </a:r>
            <a:r>
              <a:rPr lang="en-US" dirty="0" smtClean="0"/>
              <a:t> </a:t>
            </a:r>
            <a:r>
              <a:rPr lang="en-US" dirty="0" err="1" smtClean="0"/>
              <a:t>maiorepudam</a:t>
            </a:r>
            <a:r>
              <a:rPr lang="en-US" dirty="0" smtClean="0"/>
              <a:t> </a:t>
            </a:r>
            <a:r>
              <a:rPr lang="en-US" dirty="0" err="1" smtClean="0"/>
              <a:t>exernatis</a:t>
            </a:r>
            <a:r>
              <a:rPr lang="en-US" dirty="0" smtClean="0"/>
              <a:t> con </a:t>
            </a:r>
            <a:r>
              <a:rPr lang="en-US" dirty="0" err="1" smtClean="0"/>
              <a:t>nonsequ</a:t>
            </a:r>
            <a:r>
              <a:rPr lang="en-US" dirty="0" smtClean="0"/>
              <a:t> </a:t>
            </a:r>
            <a:r>
              <a:rPr lang="en-US" dirty="0" err="1" smtClean="0"/>
              <a:t>atquaecta</a:t>
            </a:r>
            <a:r>
              <a:rPr lang="en-US" dirty="0" smtClean="0"/>
              <a:t> </a:t>
            </a:r>
            <a:r>
              <a:rPr lang="en-US" dirty="0" err="1" smtClean="0"/>
              <a:t>dolut</a:t>
            </a:r>
            <a:r>
              <a:rPr lang="en-US" dirty="0" smtClean="0"/>
              <a:t> </a:t>
            </a:r>
            <a:r>
              <a:rPr lang="en-US" dirty="0" err="1" smtClean="0"/>
              <a:t>exero</a:t>
            </a:r>
            <a:r>
              <a:rPr lang="en-US" dirty="0" smtClean="0"/>
              <a:t> </a:t>
            </a:r>
            <a:r>
              <a:rPr lang="en-US" dirty="0" err="1" smtClean="0"/>
              <a:t>venis</a:t>
            </a:r>
            <a:r>
              <a:rPr lang="en-US" dirty="0" smtClean="0"/>
              <a:t> </a:t>
            </a:r>
            <a:r>
              <a:rPr lang="en-US" dirty="0" err="1" smtClean="0"/>
              <a:t>exernat</a:t>
            </a:r>
            <a:r>
              <a:rPr lang="en-US" dirty="0" smtClean="0"/>
              <a:t> </a:t>
            </a:r>
            <a:r>
              <a:rPr lang="en-US" dirty="0" err="1" smtClean="0"/>
              <a:t>entibus</a:t>
            </a:r>
            <a:r>
              <a:rPr lang="en-US" dirty="0" smtClean="0"/>
              <a:t> </a:t>
            </a:r>
            <a:r>
              <a:rPr lang="en-US" dirty="0" err="1" smtClean="0"/>
              <a:t>quodi</a:t>
            </a:r>
            <a:r>
              <a:rPr lang="en-US" dirty="0" smtClean="0"/>
              <a:t> </a:t>
            </a:r>
            <a:r>
              <a:rPr lang="en-US" dirty="0" err="1" smtClean="0"/>
              <a:t>opta</a:t>
            </a:r>
            <a:r>
              <a:rPr lang="en-US" dirty="0" smtClean="0"/>
              <a:t> </a:t>
            </a:r>
            <a:r>
              <a:rPr lang="en-US" dirty="0" err="1" smtClean="0"/>
              <a:t>simusam</a:t>
            </a:r>
            <a:r>
              <a:rPr lang="en-US" dirty="0" smtClean="0"/>
              <a:t>, </a:t>
            </a:r>
            <a:r>
              <a:rPr lang="en-US" dirty="0" err="1" smtClean="0"/>
              <a:t>auditem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66777" y="1289497"/>
            <a:ext cx="9326880" cy="902129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651355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30271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5406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60542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5677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90813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594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21084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ELES PA CUS EST, QUATEST IANDANDI SIM ET </a:t>
            </a:r>
          </a:p>
          <a:p>
            <a:pPr lvl="0"/>
            <a:r>
              <a:rPr lang="en-US" dirty="0" smtClean="0"/>
              <a:t>PORRUM HARCHIL LIQUAE EOSANTOTATE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077142" y="3163113"/>
            <a:ext cx="3439852" cy="936512"/>
          </a:xfrm>
        </p:spPr>
        <p:txBody>
          <a:bodyPr>
            <a:normAutofit/>
          </a:bodyPr>
          <a:lstStyle>
            <a:lvl1pPr marL="0" indent="0">
              <a:buSzPct val="150000"/>
              <a:buFont typeface="Arial"/>
              <a:buNone/>
              <a:defRPr sz="1100" i="1"/>
            </a:lvl1pPr>
          </a:lstStyle>
          <a:p>
            <a:pPr lvl="0"/>
            <a:r>
              <a:rPr lang="en-US" dirty="0" err="1" smtClean="0"/>
              <a:t>Estiorent</a:t>
            </a:r>
            <a:r>
              <a:rPr lang="en-US" dirty="0" smtClean="0"/>
              <a:t> </a:t>
            </a:r>
            <a:r>
              <a:rPr lang="en-US" dirty="0" err="1" smtClean="0"/>
              <a:t>il</a:t>
            </a:r>
            <a:r>
              <a:rPr lang="en-US" dirty="0" smtClean="0"/>
              <a:t> </a:t>
            </a:r>
            <a:r>
              <a:rPr lang="en-US" dirty="0" err="1" smtClean="0"/>
              <a:t>ipid</a:t>
            </a:r>
            <a:r>
              <a:rPr lang="en-US" dirty="0" smtClean="0"/>
              <a:t> qui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repudis</a:t>
            </a:r>
            <a:r>
              <a:rPr lang="en-US" dirty="0" smtClean="0"/>
              <a:t> </a:t>
            </a:r>
            <a:r>
              <a:rPr lang="en-US" dirty="0" err="1" smtClean="0"/>
              <a:t>magnam</a:t>
            </a:r>
            <a:r>
              <a:rPr lang="en-US" dirty="0" smtClean="0"/>
              <a:t> rem. </a:t>
            </a:r>
            <a:r>
              <a:rPr lang="en-US" dirty="0" err="1" smtClean="0"/>
              <a:t>Puda</a:t>
            </a:r>
            <a:r>
              <a:rPr lang="en-US" dirty="0" smtClean="0"/>
              <a:t> </a:t>
            </a:r>
            <a:r>
              <a:rPr lang="en-US" dirty="0" err="1" smtClean="0"/>
              <a:t>que</a:t>
            </a:r>
            <a:r>
              <a:rPr lang="en-US" dirty="0" smtClean="0"/>
              <a:t> </a:t>
            </a:r>
            <a:r>
              <a:rPr lang="en-US" dirty="0" err="1" smtClean="0"/>
              <a:t>ni</a:t>
            </a:r>
            <a:r>
              <a:rPr lang="en-US" dirty="0" smtClean="0"/>
              <a:t> </a:t>
            </a:r>
            <a:r>
              <a:rPr lang="en-US" dirty="0" err="1" smtClean="0"/>
              <a:t>sunt</a:t>
            </a:r>
            <a:r>
              <a:rPr lang="en-US" dirty="0" smtClean="0"/>
              <a:t> </a:t>
            </a:r>
            <a:r>
              <a:rPr lang="en-US" dirty="0" err="1" smtClean="0"/>
              <a:t>hicil</a:t>
            </a:r>
            <a:r>
              <a:rPr lang="en-US" dirty="0" smtClean="0"/>
              <a:t> </a:t>
            </a:r>
            <a:r>
              <a:rPr lang="en-US" dirty="0" err="1" smtClean="0"/>
              <a:t>maximpelitem</a:t>
            </a:r>
            <a:r>
              <a:rPr lang="en-US" dirty="0" smtClean="0"/>
              <a:t>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omnim</a:t>
            </a:r>
            <a:r>
              <a:rPr lang="en-US" dirty="0" smtClean="0"/>
              <a:t> </a:t>
            </a:r>
            <a:r>
              <a:rPr lang="en-US" dirty="0" err="1" smtClean="0"/>
              <a:t>alic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quunt</a:t>
            </a:r>
            <a:r>
              <a:rPr lang="en-US" dirty="0" smtClean="0"/>
              <a:t>, qui quam </a:t>
            </a:r>
            <a:r>
              <a:rPr lang="en-US" dirty="0" err="1" smtClean="0"/>
              <a:t>dist</a:t>
            </a:r>
            <a:r>
              <a:rPr lang="en-US" dirty="0" smtClean="0"/>
              <a:t>, </a:t>
            </a:r>
            <a:r>
              <a:rPr lang="en-US" dirty="0" err="1" smtClean="0"/>
              <a:t>occullabore</a:t>
            </a:r>
            <a:r>
              <a:rPr lang="en-US" dirty="0" smtClean="0"/>
              <a:t> </a:t>
            </a:r>
            <a:r>
              <a:rPr lang="en-US" dirty="0" err="1" smtClean="0"/>
              <a:t>volupic</a:t>
            </a:r>
            <a:r>
              <a:rPr lang="en-US" dirty="0" smtClean="0"/>
              <a:t> </a:t>
            </a:r>
            <a:r>
              <a:rPr lang="en-US" dirty="0" err="1" smtClean="0"/>
              <a:t>atestiis</a:t>
            </a:r>
            <a:r>
              <a:rPr lang="en-US" dirty="0" smtClean="0"/>
              <a:t> </a:t>
            </a:r>
            <a:r>
              <a:rPr lang="en-US" dirty="0" err="1" smtClean="0"/>
              <a:t>pelest</a:t>
            </a:r>
            <a:r>
              <a:rPr lang="en-US" dirty="0" smtClean="0"/>
              <a:t>.</a:t>
            </a:r>
          </a:p>
          <a:p>
            <a:pPr lvl="0"/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omnim</a:t>
            </a:r>
            <a:r>
              <a:rPr lang="en-US" dirty="0" smtClean="0"/>
              <a:t> </a:t>
            </a:r>
            <a:r>
              <a:rPr lang="en-US" dirty="0" err="1" smtClean="0"/>
              <a:t>alic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quunt</a:t>
            </a:r>
            <a:r>
              <a:rPr lang="en-US" dirty="0" smtClean="0"/>
              <a:t>.</a:t>
            </a:r>
          </a:p>
          <a:p>
            <a:pPr lvl="0"/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66736" y="3163429"/>
            <a:ext cx="1210410" cy="936196"/>
          </a:xfrm>
        </p:spPr>
        <p:txBody>
          <a:bodyPr>
            <a:normAutofit/>
          </a:bodyPr>
          <a:lstStyle>
            <a:lvl1pPr marL="0" indent="0">
              <a:buNone/>
              <a:defRPr sz="5100" b="1">
                <a:solidFill>
                  <a:srgbClr val="3D9AD7"/>
                </a:solidFill>
              </a:defRPr>
            </a:lvl1pPr>
          </a:lstStyle>
          <a:p>
            <a:pPr lvl="0"/>
            <a:r>
              <a:rPr lang="en-US" dirty="0" smtClean="0"/>
              <a:t>01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66736" y="4265558"/>
            <a:ext cx="1210410" cy="936196"/>
          </a:xfrm>
        </p:spPr>
        <p:txBody>
          <a:bodyPr>
            <a:normAutofit/>
          </a:bodyPr>
          <a:lstStyle>
            <a:lvl1pPr marL="0" indent="0">
              <a:buNone/>
              <a:defRPr sz="5100" b="1">
                <a:solidFill>
                  <a:srgbClr val="3D9AD7"/>
                </a:solidFill>
              </a:defRPr>
            </a:lvl1pPr>
          </a:lstStyle>
          <a:p>
            <a:pPr lvl="0"/>
            <a:r>
              <a:rPr lang="en-US" dirty="0" smtClean="0"/>
              <a:t>03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66736" y="5367929"/>
            <a:ext cx="1210410" cy="936196"/>
          </a:xfrm>
        </p:spPr>
        <p:txBody>
          <a:bodyPr>
            <a:normAutofit/>
          </a:bodyPr>
          <a:lstStyle>
            <a:lvl1pPr marL="0" indent="0">
              <a:buNone/>
              <a:defRPr sz="5100" b="1">
                <a:solidFill>
                  <a:srgbClr val="3D9AD7"/>
                </a:solidFill>
              </a:defRPr>
            </a:lvl1pPr>
          </a:lstStyle>
          <a:p>
            <a:pPr lvl="0"/>
            <a:r>
              <a:rPr lang="en-US" dirty="0" smtClean="0"/>
              <a:t>05</a:t>
            </a:r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077142" y="4265242"/>
            <a:ext cx="3439852" cy="936512"/>
          </a:xfrm>
        </p:spPr>
        <p:txBody>
          <a:bodyPr>
            <a:normAutofit/>
          </a:bodyPr>
          <a:lstStyle>
            <a:lvl1pPr marL="0" indent="0">
              <a:buSzPct val="150000"/>
              <a:buFont typeface="Arial"/>
              <a:buNone/>
              <a:defRPr sz="1100" i="1"/>
            </a:lvl1pPr>
          </a:lstStyle>
          <a:p>
            <a:pPr lvl="0"/>
            <a:r>
              <a:rPr lang="en-US" dirty="0" err="1" smtClean="0"/>
              <a:t>Estiorent</a:t>
            </a:r>
            <a:r>
              <a:rPr lang="en-US" dirty="0" smtClean="0"/>
              <a:t> </a:t>
            </a:r>
            <a:r>
              <a:rPr lang="en-US" dirty="0" err="1" smtClean="0"/>
              <a:t>il</a:t>
            </a:r>
            <a:r>
              <a:rPr lang="en-US" dirty="0" smtClean="0"/>
              <a:t> </a:t>
            </a:r>
            <a:r>
              <a:rPr lang="en-US" dirty="0" err="1" smtClean="0"/>
              <a:t>ipid</a:t>
            </a:r>
            <a:r>
              <a:rPr lang="en-US" dirty="0" smtClean="0"/>
              <a:t> qui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repudis</a:t>
            </a:r>
            <a:r>
              <a:rPr lang="en-US" dirty="0" smtClean="0"/>
              <a:t> </a:t>
            </a:r>
            <a:r>
              <a:rPr lang="en-US" dirty="0" err="1" smtClean="0"/>
              <a:t>magnam</a:t>
            </a:r>
            <a:r>
              <a:rPr lang="en-US" dirty="0" smtClean="0"/>
              <a:t> rem. </a:t>
            </a:r>
            <a:r>
              <a:rPr lang="en-US" dirty="0" err="1" smtClean="0"/>
              <a:t>Puda</a:t>
            </a:r>
            <a:r>
              <a:rPr lang="en-US" dirty="0" smtClean="0"/>
              <a:t> </a:t>
            </a:r>
            <a:r>
              <a:rPr lang="en-US" dirty="0" err="1" smtClean="0"/>
              <a:t>que</a:t>
            </a:r>
            <a:r>
              <a:rPr lang="en-US" dirty="0" smtClean="0"/>
              <a:t> </a:t>
            </a:r>
            <a:r>
              <a:rPr lang="en-US" dirty="0" err="1" smtClean="0"/>
              <a:t>ni</a:t>
            </a:r>
            <a:r>
              <a:rPr lang="en-US" dirty="0" smtClean="0"/>
              <a:t> </a:t>
            </a:r>
            <a:r>
              <a:rPr lang="en-US" dirty="0" err="1" smtClean="0"/>
              <a:t>sunt</a:t>
            </a:r>
            <a:r>
              <a:rPr lang="en-US" dirty="0" smtClean="0"/>
              <a:t> </a:t>
            </a:r>
            <a:r>
              <a:rPr lang="en-US" dirty="0" err="1" smtClean="0"/>
              <a:t>hicil</a:t>
            </a:r>
            <a:r>
              <a:rPr lang="en-US" dirty="0" smtClean="0"/>
              <a:t> </a:t>
            </a:r>
            <a:r>
              <a:rPr lang="en-US" dirty="0" err="1" smtClean="0"/>
              <a:t>maximpelitem</a:t>
            </a:r>
            <a:r>
              <a:rPr lang="en-US" dirty="0" smtClean="0"/>
              <a:t>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omnim</a:t>
            </a:r>
            <a:r>
              <a:rPr lang="en-US" dirty="0" smtClean="0"/>
              <a:t> </a:t>
            </a:r>
            <a:r>
              <a:rPr lang="en-US" dirty="0" err="1" smtClean="0"/>
              <a:t>alic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quunt</a:t>
            </a:r>
            <a:r>
              <a:rPr lang="en-US" dirty="0" smtClean="0"/>
              <a:t>, qui quam </a:t>
            </a:r>
            <a:r>
              <a:rPr lang="en-US" dirty="0" err="1" smtClean="0"/>
              <a:t>dist</a:t>
            </a:r>
            <a:r>
              <a:rPr lang="en-US" dirty="0" smtClean="0"/>
              <a:t>, </a:t>
            </a:r>
            <a:r>
              <a:rPr lang="en-US" dirty="0" err="1" smtClean="0"/>
              <a:t>occullabore</a:t>
            </a:r>
            <a:r>
              <a:rPr lang="en-US" dirty="0" smtClean="0"/>
              <a:t> </a:t>
            </a:r>
            <a:r>
              <a:rPr lang="en-US" dirty="0" err="1" smtClean="0"/>
              <a:t>volupic</a:t>
            </a:r>
            <a:r>
              <a:rPr lang="en-US" dirty="0" smtClean="0"/>
              <a:t> </a:t>
            </a:r>
            <a:r>
              <a:rPr lang="en-US" dirty="0" err="1" smtClean="0"/>
              <a:t>atestiis</a:t>
            </a:r>
            <a:r>
              <a:rPr lang="en-US" dirty="0" smtClean="0"/>
              <a:t> </a:t>
            </a:r>
            <a:r>
              <a:rPr lang="en-US" dirty="0" err="1" smtClean="0"/>
              <a:t>pelest</a:t>
            </a:r>
            <a:r>
              <a:rPr lang="en-US" dirty="0" smtClean="0"/>
              <a:t>.</a:t>
            </a:r>
          </a:p>
          <a:p>
            <a:pPr lvl="0"/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omnim</a:t>
            </a:r>
            <a:r>
              <a:rPr lang="en-US" dirty="0" smtClean="0"/>
              <a:t> </a:t>
            </a:r>
            <a:r>
              <a:rPr lang="en-US" dirty="0" err="1" smtClean="0"/>
              <a:t>alic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quunt</a:t>
            </a:r>
            <a:r>
              <a:rPr lang="en-US" dirty="0" smtClean="0"/>
              <a:t>.</a:t>
            </a:r>
          </a:p>
          <a:p>
            <a:pPr lvl="0"/>
            <a:endParaRPr lang="en-US" dirty="0" smtClean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077142" y="5378635"/>
            <a:ext cx="3439852" cy="936512"/>
          </a:xfrm>
        </p:spPr>
        <p:txBody>
          <a:bodyPr>
            <a:normAutofit/>
          </a:bodyPr>
          <a:lstStyle>
            <a:lvl1pPr marL="0" indent="0">
              <a:buSzPct val="150000"/>
              <a:buFont typeface="Arial"/>
              <a:buNone/>
              <a:defRPr sz="1100" i="1"/>
            </a:lvl1pPr>
          </a:lstStyle>
          <a:p>
            <a:pPr lvl="0"/>
            <a:r>
              <a:rPr lang="en-US" dirty="0" err="1" smtClean="0"/>
              <a:t>Estiorent</a:t>
            </a:r>
            <a:r>
              <a:rPr lang="en-US" dirty="0" smtClean="0"/>
              <a:t> </a:t>
            </a:r>
            <a:r>
              <a:rPr lang="en-US" dirty="0" err="1" smtClean="0"/>
              <a:t>il</a:t>
            </a:r>
            <a:r>
              <a:rPr lang="en-US" dirty="0" smtClean="0"/>
              <a:t> </a:t>
            </a:r>
            <a:r>
              <a:rPr lang="en-US" dirty="0" err="1" smtClean="0"/>
              <a:t>ipid</a:t>
            </a:r>
            <a:r>
              <a:rPr lang="en-US" dirty="0" smtClean="0"/>
              <a:t> qui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repudis</a:t>
            </a:r>
            <a:r>
              <a:rPr lang="en-US" dirty="0" smtClean="0"/>
              <a:t> </a:t>
            </a:r>
            <a:r>
              <a:rPr lang="en-US" dirty="0" err="1" smtClean="0"/>
              <a:t>magnam</a:t>
            </a:r>
            <a:r>
              <a:rPr lang="en-US" dirty="0" smtClean="0"/>
              <a:t> rem. </a:t>
            </a:r>
            <a:r>
              <a:rPr lang="en-US" dirty="0" err="1" smtClean="0"/>
              <a:t>Puda</a:t>
            </a:r>
            <a:r>
              <a:rPr lang="en-US" dirty="0" smtClean="0"/>
              <a:t> </a:t>
            </a:r>
            <a:r>
              <a:rPr lang="en-US" dirty="0" err="1" smtClean="0"/>
              <a:t>que</a:t>
            </a:r>
            <a:r>
              <a:rPr lang="en-US" dirty="0" smtClean="0"/>
              <a:t> </a:t>
            </a:r>
            <a:r>
              <a:rPr lang="en-US" dirty="0" err="1" smtClean="0"/>
              <a:t>ni</a:t>
            </a:r>
            <a:r>
              <a:rPr lang="en-US" dirty="0" smtClean="0"/>
              <a:t> </a:t>
            </a:r>
            <a:r>
              <a:rPr lang="en-US" dirty="0" err="1" smtClean="0"/>
              <a:t>sunt</a:t>
            </a:r>
            <a:r>
              <a:rPr lang="en-US" dirty="0" smtClean="0"/>
              <a:t> </a:t>
            </a:r>
            <a:r>
              <a:rPr lang="en-US" dirty="0" err="1" smtClean="0"/>
              <a:t>hicil</a:t>
            </a:r>
            <a:r>
              <a:rPr lang="en-US" dirty="0" smtClean="0"/>
              <a:t> </a:t>
            </a:r>
            <a:r>
              <a:rPr lang="en-US" dirty="0" err="1" smtClean="0"/>
              <a:t>maximpelitem</a:t>
            </a:r>
            <a:r>
              <a:rPr lang="en-US" dirty="0" smtClean="0"/>
              <a:t>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omnim</a:t>
            </a:r>
            <a:r>
              <a:rPr lang="en-US" dirty="0" smtClean="0"/>
              <a:t> </a:t>
            </a:r>
            <a:r>
              <a:rPr lang="en-US" dirty="0" err="1" smtClean="0"/>
              <a:t>alic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quunt</a:t>
            </a:r>
            <a:r>
              <a:rPr lang="en-US" dirty="0" smtClean="0"/>
              <a:t>, qui quam </a:t>
            </a:r>
            <a:r>
              <a:rPr lang="en-US" dirty="0" err="1" smtClean="0"/>
              <a:t>dist</a:t>
            </a:r>
            <a:r>
              <a:rPr lang="en-US" dirty="0" smtClean="0"/>
              <a:t>, </a:t>
            </a:r>
            <a:r>
              <a:rPr lang="en-US" dirty="0" err="1" smtClean="0"/>
              <a:t>occullabore</a:t>
            </a:r>
            <a:r>
              <a:rPr lang="en-US" dirty="0" smtClean="0"/>
              <a:t> </a:t>
            </a:r>
            <a:r>
              <a:rPr lang="en-US" dirty="0" err="1" smtClean="0"/>
              <a:t>volupic</a:t>
            </a:r>
            <a:r>
              <a:rPr lang="en-US" dirty="0" smtClean="0"/>
              <a:t> </a:t>
            </a:r>
            <a:r>
              <a:rPr lang="en-US" dirty="0" err="1" smtClean="0"/>
              <a:t>atestiis</a:t>
            </a:r>
            <a:r>
              <a:rPr lang="en-US" dirty="0" smtClean="0"/>
              <a:t> </a:t>
            </a:r>
            <a:r>
              <a:rPr lang="en-US" dirty="0" err="1" smtClean="0"/>
              <a:t>pelest</a:t>
            </a:r>
            <a:r>
              <a:rPr lang="en-US" dirty="0" smtClean="0"/>
              <a:t>.</a:t>
            </a:r>
          </a:p>
          <a:p>
            <a:pPr lvl="0"/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omnim</a:t>
            </a:r>
            <a:r>
              <a:rPr lang="en-US" dirty="0" smtClean="0"/>
              <a:t> </a:t>
            </a:r>
            <a:r>
              <a:rPr lang="en-US" dirty="0" err="1" smtClean="0"/>
              <a:t>alic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quunt</a:t>
            </a:r>
            <a:r>
              <a:rPr lang="en-US" dirty="0" smtClean="0"/>
              <a:t>.</a:t>
            </a:r>
          </a:p>
          <a:p>
            <a:pPr lvl="0"/>
            <a:endParaRPr lang="en-US" dirty="0" smtClean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753807" y="3163113"/>
            <a:ext cx="3439852" cy="936512"/>
          </a:xfrm>
        </p:spPr>
        <p:txBody>
          <a:bodyPr>
            <a:normAutofit/>
          </a:bodyPr>
          <a:lstStyle>
            <a:lvl1pPr marL="0" indent="0">
              <a:buSzPct val="150000"/>
              <a:buFont typeface="Arial"/>
              <a:buNone/>
              <a:defRPr sz="1100" i="1"/>
            </a:lvl1pPr>
          </a:lstStyle>
          <a:p>
            <a:pPr lvl="0"/>
            <a:r>
              <a:rPr lang="en-US" dirty="0" err="1" smtClean="0"/>
              <a:t>Estiorent</a:t>
            </a:r>
            <a:r>
              <a:rPr lang="en-US" dirty="0" smtClean="0"/>
              <a:t> </a:t>
            </a:r>
            <a:r>
              <a:rPr lang="en-US" dirty="0" err="1" smtClean="0"/>
              <a:t>il</a:t>
            </a:r>
            <a:r>
              <a:rPr lang="en-US" dirty="0" smtClean="0"/>
              <a:t> </a:t>
            </a:r>
            <a:r>
              <a:rPr lang="en-US" dirty="0" err="1" smtClean="0"/>
              <a:t>ipid</a:t>
            </a:r>
            <a:r>
              <a:rPr lang="en-US" dirty="0" smtClean="0"/>
              <a:t> qui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repudis</a:t>
            </a:r>
            <a:r>
              <a:rPr lang="en-US" dirty="0" smtClean="0"/>
              <a:t> </a:t>
            </a:r>
            <a:r>
              <a:rPr lang="en-US" dirty="0" err="1" smtClean="0"/>
              <a:t>magnam</a:t>
            </a:r>
            <a:r>
              <a:rPr lang="en-US" dirty="0" smtClean="0"/>
              <a:t> rem. </a:t>
            </a:r>
            <a:r>
              <a:rPr lang="en-US" dirty="0" err="1" smtClean="0"/>
              <a:t>Puda</a:t>
            </a:r>
            <a:r>
              <a:rPr lang="en-US" dirty="0" smtClean="0"/>
              <a:t> </a:t>
            </a:r>
            <a:r>
              <a:rPr lang="en-US" dirty="0" err="1" smtClean="0"/>
              <a:t>que</a:t>
            </a:r>
            <a:r>
              <a:rPr lang="en-US" dirty="0" smtClean="0"/>
              <a:t> </a:t>
            </a:r>
            <a:r>
              <a:rPr lang="en-US" dirty="0" err="1" smtClean="0"/>
              <a:t>ni</a:t>
            </a:r>
            <a:r>
              <a:rPr lang="en-US" dirty="0" smtClean="0"/>
              <a:t> </a:t>
            </a:r>
            <a:r>
              <a:rPr lang="en-US" dirty="0" err="1" smtClean="0"/>
              <a:t>sunt</a:t>
            </a:r>
            <a:r>
              <a:rPr lang="en-US" dirty="0" smtClean="0"/>
              <a:t> </a:t>
            </a:r>
            <a:r>
              <a:rPr lang="en-US" dirty="0" err="1" smtClean="0"/>
              <a:t>hicil</a:t>
            </a:r>
            <a:r>
              <a:rPr lang="en-US" dirty="0" smtClean="0"/>
              <a:t> </a:t>
            </a:r>
            <a:r>
              <a:rPr lang="en-US" dirty="0" err="1" smtClean="0"/>
              <a:t>maximpelitem</a:t>
            </a:r>
            <a:r>
              <a:rPr lang="en-US" dirty="0" smtClean="0"/>
              <a:t>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omnim</a:t>
            </a:r>
            <a:r>
              <a:rPr lang="en-US" dirty="0" smtClean="0"/>
              <a:t> </a:t>
            </a:r>
            <a:r>
              <a:rPr lang="en-US" dirty="0" err="1" smtClean="0"/>
              <a:t>alic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quunt</a:t>
            </a:r>
            <a:r>
              <a:rPr lang="en-US" dirty="0" smtClean="0"/>
              <a:t>, qui quam </a:t>
            </a:r>
            <a:r>
              <a:rPr lang="en-US" dirty="0" err="1" smtClean="0"/>
              <a:t>dist</a:t>
            </a:r>
            <a:r>
              <a:rPr lang="en-US" dirty="0" smtClean="0"/>
              <a:t>, </a:t>
            </a:r>
            <a:r>
              <a:rPr lang="en-US" dirty="0" err="1" smtClean="0"/>
              <a:t>occullabore</a:t>
            </a:r>
            <a:r>
              <a:rPr lang="en-US" dirty="0" smtClean="0"/>
              <a:t> </a:t>
            </a:r>
            <a:r>
              <a:rPr lang="en-US" dirty="0" err="1" smtClean="0"/>
              <a:t>volupic</a:t>
            </a:r>
            <a:r>
              <a:rPr lang="en-US" dirty="0" smtClean="0"/>
              <a:t> </a:t>
            </a:r>
            <a:r>
              <a:rPr lang="en-US" dirty="0" err="1" smtClean="0"/>
              <a:t>atestiis</a:t>
            </a:r>
            <a:r>
              <a:rPr lang="en-US" dirty="0" smtClean="0"/>
              <a:t> </a:t>
            </a:r>
            <a:r>
              <a:rPr lang="en-US" dirty="0" err="1" smtClean="0"/>
              <a:t>pelest</a:t>
            </a:r>
            <a:r>
              <a:rPr lang="en-US" dirty="0" smtClean="0"/>
              <a:t>.</a:t>
            </a:r>
          </a:p>
          <a:p>
            <a:pPr lvl="0"/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omnim</a:t>
            </a:r>
            <a:r>
              <a:rPr lang="en-US" dirty="0" smtClean="0"/>
              <a:t> </a:t>
            </a:r>
            <a:r>
              <a:rPr lang="en-US" dirty="0" err="1" smtClean="0"/>
              <a:t>alic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quunt</a:t>
            </a:r>
            <a:r>
              <a:rPr lang="en-US" dirty="0" smtClean="0"/>
              <a:t>.</a:t>
            </a:r>
          </a:p>
          <a:p>
            <a:pPr lvl="0"/>
            <a:endParaRPr lang="en-US" dirty="0" smtClean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5543399" y="3163429"/>
            <a:ext cx="1210410" cy="936196"/>
          </a:xfrm>
        </p:spPr>
        <p:txBody>
          <a:bodyPr>
            <a:normAutofit/>
          </a:bodyPr>
          <a:lstStyle>
            <a:lvl1pPr marL="0" indent="0">
              <a:buNone/>
              <a:defRPr sz="5100" b="1">
                <a:solidFill>
                  <a:srgbClr val="3D9AD7"/>
                </a:solidFill>
              </a:defRPr>
            </a:lvl1pPr>
          </a:lstStyle>
          <a:p>
            <a:pPr lvl="0"/>
            <a:r>
              <a:rPr lang="en-US" dirty="0" smtClean="0"/>
              <a:t>02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43399" y="4265558"/>
            <a:ext cx="1210410" cy="936196"/>
          </a:xfrm>
        </p:spPr>
        <p:txBody>
          <a:bodyPr>
            <a:normAutofit/>
          </a:bodyPr>
          <a:lstStyle>
            <a:lvl1pPr marL="0" indent="0">
              <a:buNone/>
              <a:defRPr sz="5100" b="1">
                <a:solidFill>
                  <a:srgbClr val="3D9AD7"/>
                </a:solidFill>
              </a:defRPr>
            </a:lvl1pPr>
          </a:lstStyle>
          <a:p>
            <a:pPr lvl="0"/>
            <a:r>
              <a:rPr lang="en-US" dirty="0" smtClean="0"/>
              <a:t>04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5543399" y="5367929"/>
            <a:ext cx="1210410" cy="936196"/>
          </a:xfrm>
        </p:spPr>
        <p:txBody>
          <a:bodyPr>
            <a:normAutofit/>
          </a:bodyPr>
          <a:lstStyle>
            <a:lvl1pPr marL="0" indent="0">
              <a:buNone/>
              <a:defRPr sz="5100" b="1">
                <a:solidFill>
                  <a:srgbClr val="3D9AD7"/>
                </a:solidFill>
              </a:defRPr>
            </a:lvl1pPr>
          </a:lstStyle>
          <a:p>
            <a:pPr lvl="0"/>
            <a:r>
              <a:rPr lang="en-US" dirty="0" smtClean="0"/>
              <a:t>06</a:t>
            </a:r>
            <a:endParaRPr lang="en-US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6753807" y="4265242"/>
            <a:ext cx="3439852" cy="936512"/>
          </a:xfrm>
        </p:spPr>
        <p:txBody>
          <a:bodyPr>
            <a:normAutofit/>
          </a:bodyPr>
          <a:lstStyle>
            <a:lvl1pPr marL="0" indent="0">
              <a:buSzPct val="150000"/>
              <a:buFont typeface="Arial"/>
              <a:buNone/>
              <a:defRPr sz="1100" i="1"/>
            </a:lvl1pPr>
          </a:lstStyle>
          <a:p>
            <a:pPr lvl="0"/>
            <a:r>
              <a:rPr lang="en-US" dirty="0" err="1" smtClean="0"/>
              <a:t>Estiorent</a:t>
            </a:r>
            <a:r>
              <a:rPr lang="en-US" dirty="0" smtClean="0"/>
              <a:t> </a:t>
            </a:r>
            <a:r>
              <a:rPr lang="en-US" dirty="0" err="1" smtClean="0"/>
              <a:t>il</a:t>
            </a:r>
            <a:r>
              <a:rPr lang="en-US" dirty="0" smtClean="0"/>
              <a:t> </a:t>
            </a:r>
            <a:r>
              <a:rPr lang="en-US" dirty="0" err="1" smtClean="0"/>
              <a:t>ipid</a:t>
            </a:r>
            <a:r>
              <a:rPr lang="en-US" dirty="0" smtClean="0"/>
              <a:t> qui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repudis</a:t>
            </a:r>
            <a:r>
              <a:rPr lang="en-US" dirty="0" smtClean="0"/>
              <a:t> </a:t>
            </a:r>
            <a:r>
              <a:rPr lang="en-US" dirty="0" err="1" smtClean="0"/>
              <a:t>magnam</a:t>
            </a:r>
            <a:r>
              <a:rPr lang="en-US" dirty="0" smtClean="0"/>
              <a:t> rem. </a:t>
            </a:r>
            <a:r>
              <a:rPr lang="en-US" dirty="0" err="1" smtClean="0"/>
              <a:t>Puda</a:t>
            </a:r>
            <a:r>
              <a:rPr lang="en-US" dirty="0" smtClean="0"/>
              <a:t> </a:t>
            </a:r>
            <a:r>
              <a:rPr lang="en-US" dirty="0" err="1" smtClean="0"/>
              <a:t>que</a:t>
            </a:r>
            <a:r>
              <a:rPr lang="en-US" dirty="0" smtClean="0"/>
              <a:t> </a:t>
            </a:r>
            <a:r>
              <a:rPr lang="en-US" dirty="0" err="1" smtClean="0"/>
              <a:t>ni</a:t>
            </a:r>
            <a:r>
              <a:rPr lang="en-US" dirty="0" smtClean="0"/>
              <a:t> </a:t>
            </a:r>
            <a:r>
              <a:rPr lang="en-US" dirty="0" err="1" smtClean="0"/>
              <a:t>sunt</a:t>
            </a:r>
            <a:r>
              <a:rPr lang="en-US" dirty="0" smtClean="0"/>
              <a:t> </a:t>
            </a:r>
            <a:r>
              <a:rPr lang="en-US" dirty="0" err="1" smtClean="0"/>
              <a:t>hicil</a:t>
            </a:r>
            <a:r>
              <a:rPr lang="en-US" dirty="0" smtClean="0"/>
              <a:t> </a:t>
            </a:r>
            <a:r>
              <a:rPr lang="en-US" dirty="0" err="1" smtClean="0"/>
              <a:t>maximpelitem</a:t>
            </a:r>
            <a:r>
              <a:rPr lang="en-US" dirty="0" smtClean="0"/>
              <a:t>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omnim</a:t>
            </a:r>
            <a:r>
              <a:rPr lang="en-US" dirty="0" smtClean="0"/>
              <a:t> </a:t>
            </a:r>
            <a:r>
              <a:rPr lang="en-US" dirty="0" err="1" smtClean="0"/>
              <a:t>alic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quunt</a:t>
            </a:r>
            <a:r>
              <a:rPr lang="en-US" dirty="0" smtClean="0"/>
              <a:t>, qui quam </a:t>
            </a:r>
            <a:r>
              <a:rPr lang="en-US" dirty="0" err="1" smtClean="0"/>
              <a:t>dist</a:t>
            </a:r>
            <a:r>
              <a:rPr lang="en-US" dirty="0" smtClean="0"/>
              <a:t>, </a:t>
            </a:r>
            <a:r>
              <a:rPr lang="en-US" dirty="0" err="1" smtClean="0"/>
              <a:t>occullabore</a:t>
            </a:r>
            <a:r>
              <a:rPr lang="en-US" dirty="0" smtClean="0"/>
              <a:t> </a:t>
            </a:r>
            <a:r>
              <a:rPr lang="en-US" dirty="0" err="1" smtClean="0"/>
              <a:t>volupic</a:t>
            </a:r>
            <a:r>
              <a:rPr lang="en-US" dirty="0" smtClean="0"/>
              <a:t> </a:t>
            </a:r>
            <a:r>
              <a:rPr lang="en-US" dirty="0" err="1" smtClean="0"/>
              <a:t>atestiis</a:t>
            </a:r>
            <a:r>
              <a:rPr lang="en-US" dirty="0" smtClean="0"/>
              <a:t> </a:t>
            </a:r>
            <a:r>
              <a:rPr lang="en-US" dirty="0" err="1" smtClean="0"/>
              <a:t>pelest</a:t>
            </a:r>
            <a:r>
              <a:rPr lang="en-US" dirty="0" smtClean="0"/>
              <a:t>.</a:t>
            </a:r>
          </a:p>
          <a:p>
            <a:pPr lvl="0"/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omnim</a:t>
            </a:r>
            <a:r>
              <a:rPr lang="en-US" dirty="0" smtClean="0"/>
              <a:t> </a:t>
            </a:r>
            <a:r>
              <a:rPr lang="en-US" dirty="0" err="1" smtClean="0"/>
              <a:t>alic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quunt</a:t>
            </a:r>
            <a:r>
              <a:rPr lang="en-US" dirty="0" smtClean="0"/>
              <a:t>.</a:t>
            </a:r>
          </a:p>
          <a:p>
            <a:pPr lvl="0"/>
            <a:endParaRPr lang="en-US" dirty="0" smtClean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6753807" y="5378635"/>
            <a:ext cx="3439852" cy="936512"/>
          </a:xfrm>
        </p:spPr>
        <p:txBody>
          <a:bodyPr>
            <a:normAutofit/>
          </a:bodyPr>
          <a:lstStyle>
            <a:lvl1pPr marL="0" indent="0">
              <a:buSzPct val="150000"/>
              <a:buFont typeface="Arial"/>
              <a:buNone/>
              <a:defRPr sz="1100" i="1"/>
            </a:lvl1pPr>
          </a:lstStyle>
          <a:p>
            <a:pPr lvl="0"/>
            <a:r>
              <a:rPr lang="en-US" dirty="0" err="1" smtClean="0"/>
              <a:t>Estiorent</a:t>
            </a:r>
            <a:r>
              <a:rPr lang="en-US" dirty="0" smtClean="0"/>
              <a:t> </a:t>
            </a:r>
            <a:r>
              <a:rPr lang="en-US" dirty="0" err="1" smtClean="0"/>
              <a:t>il</a:t>
            </a:r>
            <a:r>
              <a:rPr lang="en-US" dirty="0" smtClean="0"/>
              <a:t> </a:t>
            </a:r>
            <a:r>
              <a:rPr lang="en-US" dirty="0" err="1" smtClean="0"/>
              <a:t>ipid</a:t>
            </a:r>
            <a:r>
              <a:rPr lang="en-US" dirty="0" smtClean="0"/>
              <a:t> qui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repudis</a:t>
            </a:r>
            <a:r>
              <a:rPr lang="en-US" dirty="0" smtClean="0"/>
              <a:t> </a:t>
            </a:r>
            <a:r>
              <a:rPr lang="en-US" dirty="0" err="1" smtClean="0"/>
              <a:t>magnam</a:t>
            </a:r>
            <a:r>
              <a:rPr lang="en-US" dirty="0" smtClean="0"/>
              <a:t> rem. </a:t>
            </a:r>
            <a:r>
              <a:rPr lang="en-US" dirty="0" err="1" smtClean="0"/>
              <a:t>Puda</a:t>
            </a:r>
            <a:r>
              <a:rPr lang="en-US" dirty="0" smtClean="0"/>
              <a:t> </a:t>
            </a:r>
            <a:r>
              <a:rPr lang="en-US" dirty="0" err="1" smtClean="0"/>
              <a:t>que</a:t>
            </a:r>
            <a:r>
              <a:rPr lang="en-US" dirty="0" smtClean="0"/>
              <a:t> </a:t>
            </a:r>
            <a:r>
              <a:rPr lang="en-US" dirty="0" err="1" smtClean="0"/>
              <a:t>ni</a:t>
            </a:r>
            <a:r>
              <a:rPr lang="en-US" dirty="0" smtClean="0"/>
              <a:t> </a:t>
            </a:r>
            <a:r>
              <a:rPr lang="en-US" dirty="0" err="1" smtClean="0"/>
              <a:t>sunt</a:t>
            </a:r>
            <a:r>
              <a:rPr lang="en-US" dirty="0" smtClean="0"/>
              <a:t> </a:t>
            </a:r>
            <a:r>
              <a:rPr lang="en-US" dirty="0" err="1" smtClean="0"/>
              <a:t>hicil</a:t>
            </a:r>
            <a:r>
              <a:rPr lang="en-US" dirty="0" smtClean="0"/>
              <a:t> </a:t>
            </a:r>
            <a:r>
              <a:rPr lang="en-US" dirty="0" err="1" smtClean="0"/>
              <a:t>maximpelitem</a:t>
            </a:r>
            <a:r>
              <a:rPr lang="en-US" dirty="0" smtClean="0"/>
              <a:t>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omnim</a:t>
            </a:r>
            <a:r>
              <a:rPr lang="en-US" dirty="0" smtClean="0"/>
              <a:t> </a:t>
            </a:r>
            <a:r>
              <a:rPr lang="en-US" dirty="0" err="1" smtClean="0"/>
              <a:t>alic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quunt</a:t>
            </a:r>
            <a:r>
              <a:rPr lang="en-US" dirty="0" smtClean="0"/>
              <a:t>, qui quam </a:t>
            </a:r>
            <a:r>
              <a:rPr lang="en-US" dirty="0" err="1" smtClean="0"/>
              <a:t>dist</a:t>
            </a:r>
            <a:r>
              <a:rPr lang="en-US" dirty="0" smtClean="0"/>
              <a:t>, </a:t>
            </a:r>
            <a:r>
              <a:rPr lang="en-US" dirty="0" err="1" smtClean="0"/>
              <a:t>occullabore</a:t>
            </a:r>
            <a:r>
              <a:rPr lang="en-US" dirty="0" smtClean="0"/>
              <a:t> </a:t>
            </a:r>
            <a:r>
              <a:rPr lang="en-US" dirty="0" err="1" smtClean="0"/>
              <a:t>volupic</a:t>
            </a:r>
            <a:r>
              <a:rPr lang="en-US" dirty="0" smtClean="0"/>
              <a:t> </a:t>
            </a:r>
            <a:r>
              <a:rPr lang="en-US" dirty="0" err="1" smtClean="0"/>
              <a:t>atestiis</a:t>
            </a:r>
            <a:r>
              <a:rPr lang="en-US" dirty="0" smtClean="0"/>
              <a:t> </a:t>
            </a:r>
            <a:r>
              <a:rPr lang="en-US" dirty="0" err="1" smtClean="0"/>
              <a:t>pelest</a:t>
            </a:r>
            <a:r>
              <a:rPr lang="en-US" dirty="0" smtClean="0"/>
              <a:t>.</a:t>
            </a:r>
          </a:p>
          <a:p>
            <a:pPr lvl="0"/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omnim</a:t>
            </a:r>
            <a:r>
              <a:rPr lang="en-US" dirty="0" smtClean="0"/>
              <a:t> </a:t>
            </a:r>
            <a:r>
              <a:rPr lang="en-US" dirty="0" err="1" smtClean="0"/>
              <a:t>alic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quunt</a:t>
            </a:r>
            <a:r>
              <a:rPr lang="en-US" dirty="0" smtClean="0"/>
              <a:t>.</a:t>
            </a:r>
          </a:p>
          <a:p>
            <a:pPr lvl="0"/>
            <a:endParaRPr lang="en-US" dirty="0" smtClean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25897" y="214916"/>
            <a:ext cx="3598002" cy="297574"/>
          </a:xfrm>
        </p:spPr>
        <p:txBody>
          <a:bodyPr>
            <a:noAutofit/>
          </a:bodyPr>
          <a:lstStyle>
            <a:lvl1pPr marL="0" indent="0">
              <a:buNone/>
              <a:defRPr sz="800" b="1" baseline="0">
                <a:solidFill>
                  <a:srgbClr val="3D9AD7"/>
                </a:solidFill>
              </a:defRPr>
            </a:lvl1pPr>
          </a:lstStyle>
          <a:p>
            <a:pPr lvl="0"/>
            <a:r>
              <a:rPr lang="en-US" dirty="0" smtClean="0"/>
              <a:t>Nov 6, 2015 Union Global Partners Limited Me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422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1585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2946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74215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1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170"/>
            <a:ext cx="9875520" cy="36576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062750"/>
            <a:ext cx="9875520" cy="469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202188"/>
            <a:ext cx="987552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085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020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185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651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1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887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741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sz="18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680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67635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148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21057141"/>
              </p:ext>
            </p:extLst>
          </p:nvPr>
        </p:nvGraphicFramePr>
        <p:xfrm>
          <a:off x="1631" y="1435"/>
          <a:ext cx="1627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144"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1" y="1435"/>
                        <a:ext cx="1627" cy="14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48727" y="6420503"/>
            <a:ext cx="796216" cy="19651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/>
          <a:p>
            <a:pPr defTabSz="91277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cs typeface="Arial" pitchFamily="34" charset="0"/>
              </a:rPr>
              <a:t>Page </a:t>
            </a:r>
            <a:fld id="{34F40E3D-8AD0-4EE0-8BC0-1D8ECFD53801}" type="slidenum">
              <a:rPr lang="en-US" sz="1100">
                <a:solidFill>
                  <a:srgbClr val="000000"/>
                </a:solidFill>
                <a:cs typeface="Arial" pitchFamily="34" charset="0"/>
              </a:rPr>
              <a:pPr defTabSz="91277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Line 11"/>
          <p:cNvSpPr>
            <a:spLocks noChangeShapeType="1"/>
          </p:cNvSpPr>
          <p:nvPr/>
        </p:nvSpPr>
        <p:spPr bwMode="auto">
          <a:xfrm>
            <a:off x="547094" y="6244065"/>
            <a:ext cx="9875357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xtLst/>
        </p:spPr>
        <p:txBody>
          <a:bodyPr wrap="none" lIns="90989" tIns="45509" rIns="90989" bIns="4550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46464"/>
              </a:solidFill>
            </a:endParaRPr>
          </a:p>
        </p:txBody>
      </p:sp>
      <p:sp>
        <p:nvSpPr>
          <p:cNvPr id="7" name="Line 12"/>
          <p:cNvSpPr>
            <a:spLocks noChangeShapeType="1"/>
          </p:cNvSpPr>
          <p:nvPr/>
        </p:nvSpPr>
        <p:spPr bwMode="auto">
          <a:xfrm>
            <a:off x="547094" y="199386"/>
            <a:ext cx="9875357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xtLst/>
        </p:spPr>
        <p:txBody>
          <a:bodyPr wrap="none" lIns="90989" tIns="45509" rIns="90989" bIns="4550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46464"/>
              </a:solidFill>
            </a:endParaRPr>
          </a:p>
        </p:txBody>
      </p:sp>
      <p:sp>
        <p:nvSpPr>
          <p:cNvPr id="11" name="Freeform 10"/>
          <p:cNvSpPr/>
          <p:nvPr userDrawn="1"/>
        </p:nvSpPr>
        <p:spPr bwMode="gray">
          <a:xfrm flipH="1">
            <a:off x="4" y="2614966"/>
            <a:ext cx="7818872" cy="1497543"/>
          </a:xfrm>
          <a:custGeom>
            <a:avLst/>
            <a:gdLst>
              <a:gd name="connsiteX0" fmla="*/ 85725 w 7705725"/>
              <a:gd name="connsiteY0" fmla="*/ 0 h 1704975"/>
              <a:gd name="connsiteX1" fmla="*/ 7705725 w 7705725"/>
              <a:gd name="connsiteY1" fmla="*/ 0 h 1704975"/>
              <a:gd name="connsiteX2" fmla="*/ 7705725 w 7705725"/>
              <a:gd name="connsiteY2" fmla="*/ 1704975 h 1704975"/>
              <a:gd name="connsiteX3" fmla="*/ 0 w 7705725"/>
              <a:gd name="connsiteY3" fmla="*/ 1704975 h 1704975"/>
              <a:gd name="connsiteX4" fmla="*/ 85725 w 7705725"/>
              <a:gd name="connsiteY4" fmla="*/ 0 h 1704975"/>
              <a:gd name="connsiteX0" fmla="*/ 0 w 7620000"/>
              <a:gd name="connsiteY0" fmla="*/ 0 h 1705429"/>
              <a:gd name="connsiteX1" fmla="*/ 7620000 w 7620000"/>
              <a:gd name="connsiteY1" fmla="*/ 0 h 1705429"/>
              <a:gd name="connsiteX2" fmla="*/ 7620000 w 7620000"/>
              <a:gd name="connsiteY2" fmla="*/ 1704975 h 1705429"/>
              <a:gd name="connsiteX3" fmla="*/ 329085 w 7620000"/>
              <a:gd name="connsiteY3" fmla="*/ 1705429 h 1705429"/>
              <a:gd name="connsiteX4" fmla="*/ 0 w 7620000"/>
              <a:gd name="connsiteY4" fmla="*/ 0 h 1705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0000" h="1705429">
                <a:moveTo>
                  <a:pt x="0" y="0"/>
                </a:moveTo>
                <a:lnTo>
                  <a:pt x="7620000" y="0"/>
                </a:lnTo>
                <a:lnTo>
                  <a:pt x="7620000" y="1704975"/>
                </a:lnTo>
                <a:lnTo>
                  <a:pt x="329085" y="170542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757" tIns="39874" rIns="79757" bIns="39874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 bwMode="gray">
          <a:xfrm>
            <a:off x="609266" y="2851742"/>
            <a:ext cx="6724376" cy="254067"/>
          </a:xfrm>
          <a:prstGeom prst="rect">
            <a:avLst/>
          </a:prstGeom>
        </p:spPr>
        <p:txBody>
          <a:bodyPr wrap="none" lIns="79640" tIns="39811" rIns="79640" bIns="39811" anchor="ctr" anchorCtr="0"/>
          <a:lstStyle>
            <a:lvl1pPr>
              <a:defRPr lang="en-US" sz="1200" b="1" kern="1200" dirty="0" smtClean="0">
                <a:solidFill>
                  <a:srgbClr val="FFE600"/>
                </a:solidFill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 bwMode="gray">
          <a:xfrm>
            <a:off x="606140" y="3131670"/>
            <a:ext cx="6727525" cy="708406"/>
          </a:xfrm>
          <a:prstGeom prst="rect">
            <a:avLst/>
          </a:prstGeom>
        </p:spPr>
        <p:txBody>
          <a:bodyPr lIns="79640" tIns="39811" rIns="79640" bIns="39811"/>
          <a:lstStyle>
            <a:lvl1pPr>
              <a:lnSpc>
                <a:spcPct val="90000"/>
              </a:lnSpc>
              <a:spcAft>
                <a:spcPts val="0"/>
              </a:spcAft>
              <a:defRPr lang="en-GB" sz="2600" b="1" kern="1200" dirty="0" smtClean="0">
                <a:solidFill>
                  <a:srgbClr val="FFFFFF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376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170"/>
            <a:ext cx="9875520" cy="36576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062750"/>
            <a:ext cx="9875520" cy="469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202188"/>
            <a:ext cx="987552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923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464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316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501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1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836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2962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3490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0007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834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extLst/>
          </p:nvPr>
        </p:nvGraphicFramePr>
        <p:xfrm>
          <a:off x="1631" y="1435"/>
          <a:ext cx="1627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72"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1" y="1435"/>
                        <a:ext cx="1627" cy="14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48727" y="6420503"/>
            <a:ext cx="796216" cy="19651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/>
          <a:p>
            <a:pPr defTabSz="91277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cs typeface="Arial" pitchFamily="34" charset="0"/>
              </a:rPr>
              <a:t>Page </a:t>
            </a:r>
            <a:fld id="{34F40E3D-8AD0-4EE0-8BC0-1D8ECFD53801}" type="slidenum">
              <a:rPr lang="en-US" sz="1100">
                <a:solidFill>
                  <a:srgbClr val="000000"/>
                </a:solidFill>
                <a:cs typeface="Arial" pitchFamily="34" charset="0"/>
              </a:rPr>
              <a:pPr defTabSz="91277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Line 11"/>
          <p:cNvSpPr>
            <a:spLocks noChangeShapeType="1"/>
          </p:cNvSpPr>
          <p:nvPr/>
        </p:nvSpPr>
        <p:spPr bwMode="auto">
          <a:xfrm>
            <a:off x="547094" y="6244065"/>
            <a:ext cx="9875357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xtLst/>
        </p:spPr>
        <p:txBody>
          <a:bodyPr wrap="none" lIns="90989" tIns="45509" rIns="90989" bIns="4550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46464"/>
              </a:solidFill>
            </a:endParaRPr>
          </a:p>
        </p:txBody>
      </p:sp>
      <p:sp>
        <p:nvSpPr>
          <p:cNvPr id="7" name="Line 12"/>
          <p:cNvSpPr>
            <a:spLocks noChangeShapeType="1"/>
          </p:cNvSpPr>
          <p:nvPr/>
        </p:nvSpPr>
        <p:spPr bwMode="auto">
          <a:xfrm>
            <a:off x="547094" y="199386"/>
            <a:ext cx="9875357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xtLst/>
        </p:spPr>
        <p:txBody>
          <a:bodyPr wrap="none" lIns="90989" tIns="45509" rIns="90989" bIns="4550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46464"/>
              </a:solidFill>
            </a:endParaRPr>
          </a:p>
        </p:txBody>
      </p:sp>
      <p:sp>
        <p:nvSpPr>
          <p:cNvPr id="11" name="Freeform 10"/>
          <p:cNvSpPr/>
          <p:nvPr userDrawn="1"/>
        </p:nvSpPr>
        <p:spPr bwMode="gray">
          <a:xfrm flipH="1">
            <a:off x="4" y="2614966"/>
            <a:ext cx="7818872" cy="1497543"/>
          </a:xfrm>
          <a:custGeom>
            <a:avLst/>
            <a:gdLst>
              <a:gd name="connsiteX0" fmla="*/ 85725 w 7705725"/>
              <a:gd name="connsiteY0" fmla="*/ 0 h 1704975"/>
              <a:gd name="connsiteX1" fmla="*/ 7705725 w 7705725"/>
              <a:gd name="connsiteY1" fmla="*/ 0 h 1704975"/>
              <a:gd name="connsiteX2" fmla="*/ 7705725 w 7705725"/>
              <a:gd name="connsiteY2" fmla="*/ 1704975 h 1704975"/>
              <a:gd name="connsiteX3" fmla="*/ 0 w 7705725"/>
              <a:gd name="connsiteY3" fmla="*/ 1704975 h 1704975"/>
              <a:gd name="connsiteX4" fmla="*/ 85725 w 7705725"/>
              <a:gd name="connsiteY4" fmla="*/ 0 h 1704975"/>
              <a:gd name="connsiteX0" fmla="*/ 0 w 7620000"/>
              <a:gd name="connsiteY0" fmla="*/ 0 h 1705429"/>
              <a:gd name="connsiteX1" fmla="*/ 7620000 w 7620000"/>
              <a:gd name="connsiteY1" fmla="*/ 0 h 1705429"/>
              <a:gd name="connsiteX2" fmla="*/ 7620000 w 7620000"/>
              <a:gd name="connsiteY2" fmla="*/ 1704975 h 1705429"/>
              <a:gd name="connsiteX3" fmla="*/ 329085 w 7620000"/>
              <a:gd name="connsiteY3" fmla="*/ 1705429 h 1705429"/>
              <a:gd name="connsiteX4" fmla="*/ 0 w 7620000"/>
              <a:gd name="connsiteY4" fmla="*/ 0 h 1705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0000" h="1705429">
                <a:moveTo>
                  <a:pt x="0" y="0"/>
                </a:moveTo>
                <a:lnTo>
                  <a:pt x="7620000" y="0"/>
                </a:lnTo>
                <a:lnTo>
                  <a:pt x="7620000" y="1704975"/>
                </a:lnTo>
                <a:lnTo>
                  <a:pt x="329085" y="170542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757" tIns="39874" rIns="79757" bIns="39874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 bwMode="gray">
          <a:xfrm>
            <a:off x="609266" y="2851742"/>
            <a:ext cx="6724376" cy="254067"/>
          </a:xfrm>
          <a:prstGeom prst="rect">
            <a:avLst/>
          </a:prstGeom>
        </p:spPr>
        <p:txBody>
          <a:bodyPr wrap="none" lIns="79640" tIns="39811" rIns="79640" bIns="39811" anchor="ctr" anchorCtr="0"/>
          <a:lstStyle>
            <a:lvl1pPr>
              <a:defRPr lang="en-US" sz="1200" b="1" kern="1200" dirty="0" smtClean="0">
                <a:solidFill>
                  <a:srgbClr val="FFE600"/>
                </a:solidFill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 bwMode="gray">
          <a:xfrm>
            <a:off x="606140" y="3131670"/>
            <a:ext cx="6727525" cy="708406"/>
          </a:xfrm>
          <a:prstGeom prst="rect">
            <a:avLst/>
          </a:prstGeom>
        </p:spPr>
        <p:txBody>
          <a:bodyPr lIns="79640" tIns="39811" rIns="79640" bIns="39811"/>
          <a:lstStyle>
            <a:lvl1pPr>
              <a:lnSpc>
                <a:spcPct val="90000"/>
              </a:lnSpc>
              <a:spcAft>
                <a:spcPts val="0"/>
              </a:spcAft>
              <a:defRPr lang="en-GB" sz="2600" b="1" kern="1200" dirty="0" smtClean="0">
                <a:solidFill>
                  <a:srgbClr val="FFFFFF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146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155033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9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170"/>
            <a:ext cx="9875520" cy="36576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062750"/>
            <a:ext cx="9875520" cy="469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202188"/>
            <a:ext cx="987552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503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573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575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605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1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394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710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69041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16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718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8967082"/>
              </p:ext>
            </p:extLst>
          </p:nvPr>
        </p:nvGraphicFramePr>
        <p:xfrm>
          <a:off x="1631" y="1435"/>
          <a:ext cx="1627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54"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1" y="1435"/>
                        <a:ext cx="1627" cy="14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48727" y="6420503"/>
            <a:ext cx="796216" cy="19651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/>
          <a:p>
            <a:pPr defTabSz="91277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cs typeface="Arial" pitchFamily="34" charset="0"/>
              </a:rPr>
              <a:t>Page </a:t>
            </a:r>
            <a:fld id="{34F40E3D-8AD0-4EE0-8BC0-1D8ECFD53801}" type="slidenum">
              <a:rPr lang="en-US" sz="1100">
                <a:solidFill>
                  <a:srgbClr val="000000"/>
                </a:solidFill>
                <a:cs typeface="Arial" pitchFamily="34" charset="0"/>
              </a:rPr>
              <a:pPr defTabSz="91277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Line 11"/>
          <p:cNvSpPr>
            <a:spLocks noChangeShapeType="1"/>
          </p:cNvSpPr>
          <p:nvPr/>
        </p:nvSpPr>
        <p:spPr bwMode="auto">
          <a:xfrm>
            <a:off x="547094" y="6244065"/>
            <a:ext cx="9875357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xtLst/>
        </p:spPr>
        <p:txBody>
          <a:bodyPr wrap="none" lIns="90989" tIns="45509" rIns="90989" bIns="4550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46464"/>
              </a:solidFill>
            </a:endParaRPr>
          </a:p>
        </p:txBody>
      </p:sp>
      <p:sp>
        <p:nvSpPr>
          <p:cNvPr id="7" name="Line 12"/>
          <p:cNvSpPr>
            <a:spLocks noChangeShapeType="1"/>
          </p:cNvSpPr>
          <p:nvPr/>
        </p:nvSpPr>
        <p:spPr bwMode="auto">
          <a:xfrm>
            <a:off x="547094" y="199386"/>
            <a:ext cx="9875357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xtLst/>
        </p:spPr>
        <p:txBody>
          <a:bodyPr wrap="none" lIns="90989" tIns="45509" rIns="90989" bIns="4550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46464"/>
              </a:solidFill>
            </a:endParaRPr>
          </a:p>
        </p:txBody>
      </p:sp>
      <p:sp>
        <p:nvSpPr>
          <p:cNvPr id="11" name="Freeform 10"/>
          <p:cNvSpPr/>
          <p:nvPr userDrawn="1"/>
        </p:nvSpPr>
        <p:spPr bwMode="gray">
          <a:xfrm flipH="1">
            <a:off x="4" y="2614966"/>
            <a:ext cx="7818872" cy="1497543"/>
          </a:xfrm>
          <a:custGeom>
            <a:avLst/>
            <a:gdLst>
              <a:gd name="connsiteX0" fmla="*/ 85725 w 7705725"/>
              <a:gd name="connsiteY0" fmla="*/ 0 h 1704975"/>
              <a:gd name="connsiteX1" fmla="*/ 7705725 w 7705725"/>
              <a:gd name="connsiteY1" fmla="*/ 0 h 1704975"/>
              <a:gd name="connsiteX2" fmla="*/ 7705725 w 7705725"/>
              <a:gd name="connsiteY2" fmla="*/ 1704975 h 1704975"/>
              <a:gd name="connsiteX3" fmla="*/ 0 w 7705725"/>
              <a:gd name="connsiteY3" fmla="*/ 1704975 h 1704975"/>
              <a:gd name="connsiteX4" fmla="*/ 85725 w 7705725"/>
              <a:gd name="connsiteY4" fmla="*/ 0 h 1704975"/>
              <a:gd name="connsiteX0" fmla="*/ 0 w 7620000"/>
              <a:gd name="connsiteY0" fmla="*/ 0 h 1705429"/>
              <a:gd name="connsiteX1" fmla="*/ 7620000 w 7620000"/>
              <a:gd name="connsiteY1" fmla="*/ 0 h 1705429"/>
              <a:gd name="connsiteX2" fmla="*/ 7620000 w 7620000"/>
              <a:gd name="connsiteY2" fmla="*/ 1704975 h 1705429"/>
              <a:gd name="connsiteX3" fmla="*/ 329085 w 7620000"/>
              <a:gd name="connsiteY3" fmla="*/ 1705429 h 1705429"/>
              <a:gd name="connsiteX4" fmla="*/ 0 w 7620000"/>
              <a:gd name="connsiteY4" fmla="*/ 0 h 1705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0000" h="1705429">
                <a:moveTo>
                  <a:pt x="0" y="0"/>
                </a:moveTo>
                <a:lnTo>
                  <a:pt x="7620000" y="0"/>
                </a:lnTo>
                <a:lnTo>
                  <a:pt x="7620000" y="1704975"/>
                </a:lnTo>
                <a:lnTo>
                  <a:pt x="329085" y="170542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757" tIns="39874" rIns="79757" bIns="39874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 bwMode="gray">
          <a:xfrm>
            <a:off x="609266" y="2851742"/>
            <a:ext cx="6724376" cy="254067"/>
          </a:xfrm>
          <a:prstGeom prst="rect">
            <a:avLst/>
          </a:prstGeom>
        </p:spPr>
        <p:txBody>
          <a:bodyPr wrap="none" lIns="79640" tIns="39811" rIns="79640" bIns="39811" anchor="ctr" anchorCtr="0"/>
          <a:lstStyle>
            <a:lvl1pPr>
              <a:defRPr lang="en-US" sz="1200" b="1" kern="1200" dirty="0" smtClean="0">
                <a:solidFill>
                  <a:srgbClr val="FFE600"/>
                </a:solidFill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 bwMode="gray">
          <a:xfrm>
            <a:off x="606140" y="3131670"/>
            <a:ext cx="6727525" cy="708406"/>
          </a:xfrm>
          <a:prstGeom prst="rect">
            <a:avLst/>
          </a:prstGeom>
        </p:spPr>
        <p:txBody>
          <a:bodyPr lIns="79640" tIns="39811" rIns="79640" bIns="39811"/>
          <a:lstStyle>
            <a:lvl1pPr>
              <a:lnSpc>
                <a:spcPct val="90000"/>
              </a:lnSpc>
              <a:spcAft>
                <a:spcPts val="0"/>
              </a:spcAft>
              <a:defRPr lang="en-GB" sz="2600" b="1" kern="1200" dirty="0" smtClean="0">
                <a:solidFill>
                  <a:srgbClr val="FFFFFF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524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 descr="Satellite2"/>
          <p:cNvPicPr>
            <a:picLocks noChangeAspect="1" noChangeArrowheads="1"/>
          </p:cNvPicPr>
          <p:nvPr userDrawn="1"/>
        </p:nvPicPr>
        <p:blipFill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7" y="0"/>
            <a:ext cx="10972794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727904" y="5748934"/>
            <a:ext cx="118018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9072" y="757504"/>
            <a:ext cx="65880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9072" y="1753200"/>
            <a:ext cx="6588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109728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887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459421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170"/>
            <a:ext cx="9875520" cy="36576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062750"/>
            <a:ext cx="9875520" cy="469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202188"/>
            <a:ext cx="987552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007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118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896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4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761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1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370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222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83931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224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51990978"/>
              </p:ext>
            </p:extLst>
          </p:nvPr>
        </p:nvGraphicFramePr>
        <p:xfrm>
          <a:off x="1631" y="1435"/>
          <a:ext cx="1627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29"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1" y="1435"/>
                        <a:ext cx="1627" cy="14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48727" y="6420503"/>
            <a:ext cx="796216" cy="19651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/>
          <a:p>
            <a:pPr defTabSz="91277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cs typeface="Arial" pitchFamily="34" charset="0"/>
              </a:rPr>
              <a:t>Page </a:t>
            </a:r>
            <a:fld id="{34F40E3D-8AD0-4EE0-8BC0-1D8ECFD53801}" type="slidenum">
              <a:rPr lang="en-US" sz="1100">
                <a:solidFill>
                  <a:srgbClr val="000000"/>
                </a:solidFill>
                <a:cs typeface="Arial" pitchFamily="34" charset="0"/>
              </a:rPr>
              <a:pPr defTabSz="91277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Line 11"/>
          <p:cNvSpPr>
            <a:spLocks noChangeShapeType="1"/>
          </p:cNvSpPr>
          <p:nvPr/>
        </p:nvSpPr>
        <p:spPr bwMode="auto">
          <a:xfrm>
            <a:off x="547094" y="6244065"/>
            <a:ext cx="9875357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xtLst/>
        </p:spPr>
        <p:txBody>
          <a:bodyPr wrap="none" lIns="90989" tIns="45509" rIns="90989" bIns="4550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646464"/>
              </a:solidFill>
            </a:endParaRPr>
          </a:p>
        </p:txBody>
      </p:sp>
      <p:sp>
        <p:nvSpPr>
          <p:cNvPr id="7" name="Line 12"/>
          <p:cNvSpPr>
            <a:spLocks noChangeShapeType="1"/>
          </p:cNvSpPr>
          <p:nvPr/>
        </p:nvSpPr>
        <p:spPr bwMode="auto">
          <a:xfrm>
            <a:off x="547094" y="199386"/>
            <a:ext cx="9875357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xtLst/>
        </p:spPr>
        <p:txBody>
          <a:bodyPr wrap="none" lIns="90989" tIns="45509" rIns="90989" bIns="4550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646464"/>
              </a:solidFill>
            </a:endParaRPr>
          </a:p>
        </p:txBody>
      </p:sp>
      <p:sp>
        <p:nvSpPr>
          <p:cNvPr id="11" name="Freeform 10"/>
          <p:cNvSpPr/>
          <p:nvPr userDrawn="1"/>
        </p:nvSpPr>
        <p:spPr bwMode="gray">
          <a:xfrm flipH="1">
            <a:off x="4" y="2614966"/>
            <a:ext cx="7818872" cy="1497543"/>
          </a:xfrm>
          <a:custGeom>
            <a:avLst/>
            <a:gdLst>
              <a:gd name="connsiteX0" fmla="*/ 85725 w 7705725"/>
              <a:gd name="connsiteY0" fmla="*/ 0 h 1704975"/>
              <a:gd name="connsiteX1" fmla="*/ 7705725 w 7705725"/>
              <a:gd name="connsiteY1" fmla="*/ 0 h 1704975"/>
              <a:gd name="connsiteX2" fmla="*/ 7705725 w 7705725"/>
              <a:gd name="connsiteY2" fmla="*/ 1704975 h 1704975"/>
              <a:gd name="connsiteX3" fmla="*/ 0 w 7705725"/>
              <a:gd name="connsiteY3" fmla="*/ 1704975 h 1704975"/>
              <a:gd name="connsiteX4" fmla="*/ 85725 w 7705725"/>
              <a:gd name="connsiteY4" fmla="*/ 0 h 1704975"/>
              <a:gd name="connsiteX0" fmla="*/ 0 w 7620000"/>
              <a:gd name="connsiteY0" fmla="*/ 0 h 1705429"/>
              <a:gd name="connsiteX1" fmla="*/ 7620000 w 7620000"/>
              <a:gd name="connsiteY1" fmla="*/ 0 h 1705429"/>
              <a:gd name="connsiteX2" fmla="*/ 7620000 w 7620000"/>
              <a:gd name="connsiteY2" fmla="*/ 1704975 h 1705429"/>
              <a:gd name="connsiteX3" fmla="*/ 329085 w 7620000"/>
              <a:gd name="connsiteY3" fmla="*/ 1705429 h 1705429"/>
              <a:gd name="connsiteX4" fmla="*/ 0 w 7620000"/>
              <a:gd name="connsiteY4" fmla="*/ 0 h 1705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0000" h="1705429">
                <a:moveTo>
                  <a:pt x="0" y="0"/>
                </a:moveTo>
                <a:lnTo>
                  <a:pt x="7620000" y="0"/>
                </a:lnTo>
                <a:lnTo>
                  <a:pt x="7620000" y="1704975"/>
                </a:lnTo>
                <a:lnTo>
                  <a:pt x="329085" y="170542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757" tIns="39874" rIns="79757" bIns="39874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 bwMode="gray">
          <a:xfrm>
            <a:off x="609266" y="2851742"/>
            <a:ext cx="6724376" cy="254067"/>
          </a:xfrm>
          <a:prstGeom prst="rect">
            <a:avLst/>
          </a:prstGeom>
        </p:spPr>
        <p:txBody>
          <a:bodyPr wrap="none" lIns="79640" tIns="39811" rIns="79640" bIns="39811" anchor="ctr" anchorCtr="0"/>
          <a:lstStyle>
            <a:lvl1pPr>
              <a:defRPr lang="en-US" sz="1200" b="1" kern="1200" dirty="0" smtClean="0">
                <a:solidFill>
                  <a:srgbClr val="FFE600"/>
                </a:solidFill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 bwMode="gray">
          <a:xfrm>
            <a:off x="606140" y="3131670"/>
            <a:ext cx="6727525" cy="708406"/>
          </a:xfrm>
          <a:prstGeom prst="rect">
            <a:avLst/>
          </a:prstGeom>
        </p:spPr>
        <p:txBody>
          <a:bodyPr lIns="79640" tIns="39811" rIns="79640" bIns="39811"/>
          <a:lstStyle>
            <a:lvl1pPr>
              <a:lnSpc>
                <a:spcPct val="90000"/>
              </a:lnSpc>
              <a:spcAft>
                <a:spcPts val="0"/>
              </a:spcAft>
              <a:defRPr lang="en-GB" sz="2600" b="1" kern="1200" dirty="0" smtClean="0">
                <a:solidFill>
                  <a:srgbClr val="FFFFFF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79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3270785"/>
              </p:ext>
            </p:extLst>
          </p:nvPr>
        </p:nvGraphicFramePr>
        <p:xfrm>
          <a:off x="1634" y="1435"/>
          <a:ext cx="1626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4" y="1435"/>
                        <a:ext cx="1626" cy="14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91" y="457200"/>
            <a:ext cx="6496050" cy="4572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064363" y="1799130"/>
            <a:ext cx="5571672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64363" y="2769577"/>
            <a:ext cx="5571672" cy="645742"/>
          </a:xfrm>
          <a:prstGeom prst="rect">
            <a:avLst/>
          </a:prstGeom>
        </p:spPr>
        <p:txBody>
          <a:bodyPr lIns="90879" tIns="45426" rIns="90879" bIns="45426"/>
          <a:lstStyle>
            <a:lvl1pPr marL="0" indent="0" algn="l">
              <a:buNone/>
              <a:defRPr sz="2300">
                <a:solidFill>
                  <a:srgbClr val="404040"/>
                </a:solidFill>
                <a:latin typeface="EYInterstate Light"/>
                <a:cs typeface="Arial" pitchFamily="34" charset="0"/>
                <a:sym typeface="EYInterstate Light"/>
              </a:defRPr>
            </a:lvl1pPr>
            <a:lvl2pPr marL="0" indent="0" algn="l">
              <a:buNone/>
              <a:defRPr sz="1800">
                <a:solidFill>
                  <a:srgbClr val="404040"/>
                </a:solidFill>
              </a:defRPr>
            </a:lvl2pPr>
            <a:lvl3pPr marL="1043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312634" y="5702583"/>
            <a:ext cx="4660875" cy="708325"/>
            <a:chOff x="399256" y="6507163"/>
            <a:chExt cx="4544219" cy="783909"/>
          </a:xfrm>
        </p:grpSpPr>
        <p:sp>
          <p:nvSpPr>
            <p:cNvPr id="4" name="AutoShape 110"/>
            <p:cNvSpPr>
              <a:spLocks noChangeAspect="1" noChangeArrowheads="1" noTextEdit="1"/>
            </p:cNvSpPr>
            <p:nvPr userDrawn="1"/>
          </p:nvSpPr>
          <p:spPr bwMode="auto">
            <a:xfrm>
              <a:off x="520700" y="6507163"/>
              <a:ext cx="4422775" cy="684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" name="Rectangle 112"/>
            <p:cNvSpPr>
              <a:spLocks noChangeArrowheads="1"/>
            </p:cNvSpPr>
            <p:nvPr userDrawn="1"/>
          </p:nvSpPr>
          <p:spPr bwMode="auto">
            <a:xfrm>
              <a:off x="5334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6" name="Rectangle 113"/>
            <p:cNvSpPr>
              <a:spLocks noChangeArrowheads="1"/>
            </p:cNvSpPr>
            <p:nvPr userDrawn="1"/>
          </p:nvSpPr>
          <p:spPr bwMode="auto">
            <a:xfrm>
              <a:off x="736600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2" name="Rectangle 114"/>
            <p:cNvSpPr>
              <a:spLocks noChangeArrowheads="1"/>
            </p:cNvSpPr>
            <p:nvPr userDrawn="1"/>
          </p:nvSpPr>
          <p:spPr bwMode="auto">
            <a:xfrm>
              <a:off x="938213" y="6511925"/>
              <a:ext cx="114300" cy="109537"/>
            </a:xfrm>
            <a:prstGeom prst="rect">
              <a:avLst/>
            </a:prstGeom>
            <a:solidFill>
              <a:srgbClr val="FE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13" name="Rectangle 115"/>
            <p:cNvSpPr>
              <a:spLocks noChangeArrowheads="1"/>
            </p:cNvSpPr>
            <p:nvPr userDrawn="1"/>
          </p:nvSpPr>
          <p:spPr bwMode="auto">
            <a:xfrm>
              <a:off x="399256" y="6746081"/>
              <a:ext cx="4159766" cy="544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question. The better the answer.</a:t>
              </a:r>
            </a:p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The better the world works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16"/>
            <p:cNvSpPr>
              <a:spLocks noChangeArrowheads="1"/>
            </p:cNvSpPr>
            <p:nvPr userDrawn="1"/>
          </p:nvSpPr>
          <p:spPr bwMode="auto">
            <a:xfrm>
              <a:off x="64135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6" name="Rectangle 126"/>
            <p:cNvSpPr>
              <a:spLocks noChangeArrowheads="1"/>
            </p:cNvSpPr>
            <p:nvPr userDrawn="1"/>
          </p:nvSpPr>
          <p:spPr bwMode="auto">
            <a:xfrm>
              <a:off x="3470275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1" name="Rectangle 131"/>
            <p:cNvSpPr>
              <a:spLocks noChangeArrowheads="1"/>
            </p:cNvSpPr>
            <p:nvPr userDrawn="1"/>
          </p:nvSpPr>
          <p:spPr bwMode="auto">
            <a:xfrm>
              <a:off x="4711700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2" name="Rectangle 132"/>
            <p:cNvSpPr>
              <a:spLocks noChangeArrowheads="1"/>
            </p:cNvSpPr>
            <p:nvPr userDrawn="1"/>
          </p:nvSpPr>
          <p:spPr bwMode="auto">
            <a:xfrm>
              <a:off x="4824413" y="66897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4" name="Rectangle 144"/>
            <p:cNvSpPr>
              <a:spLocks noChangeArrowheads="1"/>
            </p:cNvSpPr>
            <p:nvPr userDrawn="1"/>
          </p:nvSpPr>
          <p:spPr bwMode="auto">
            <a:xfrm>
              <a:off x="2836864" y="6931024"/>
              <a:ext cx="63" cy="306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6" name="Rectangle 146"/>
            <p:cNvSpPr>
              <a:spLocks noChangeArrowheads="1"/>
            </p:cNvSpPr>
            <p:nvPr userDrawn="1"/>
          </p:nvSpPr>
          <p:spPr bwMode="auto">
            <a:xfrm>
              <a:off x="3040063" y="6931024"/>
              <a:ext cx="56264" cy="27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172"/>
              <a:r>
                <a:rPr lang="en-US" altLang="en-US" sz="1600" dirty="0" smtClean="0">
                  <a:solidFill>
                    <a:srgbClr val="FFFFFF"/>
                  </a:solidFill>
                </a:rPr>
                <a:t>.</a:t>
              </a:r>
              <a:endParaRPr lang="en-US" altLang="en-US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51" name="Group 50"/>
          <p:cNvGrpSpPr/>
          <p:nvPr userDrawn="1"/>
        </p:nvGrpSpPr>
        <p:grpSpPr>
          <a:xfrm>
            <a:off x="9250108" y="5340375"/>
            <a:ext cx="1185368" cy="1156150"/>
            <a:chOff x="9018588" y="5910263"/>
            <a:chExt cx="1155700" cy="1279526"/>
          </a:xfrm>
        </p:grpSpPr>
        <p:sp>
          <p:nvSpPr>
            <p:cNvPr id="48" name="AutoShape 148"/>
            <p:cNvSpPr>
              <a:spLocks noChangeAspect="1" noChangeArrowheads="1" noTextEdit="1"/>
            </p:cNvSpPr>
            <p:nvPr userDrawn="1"/>
          </p:nvSpPr>
          <p:spPr bwMode="auto">
            <a:xfrm>
              <a:off x="9018588" y="5910263"/>
              <a:ext cx="1155700" cy="127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49" name="Freeform 150"/>
            <p:cNvSpPr>
              <a:spLocks/>
            </p:cNvSpPr>
            <p:nvPr userDrawn="1"/>
          </p:nvSpPr>
          <p:spPr bwMode="auto">
            <a:xfrm>
              <a:off x="9018588" y="5910263"/>
              <a:ext cx="925513" cy="319088"/>
            </a:xfrm>
            <a:custGeom>
              <a:avLst/>
              <a:gdLst>
                <a:gd name="T0" fmla="*/ 2332 w 2332"/>
                <a:gd name="T1" fmla="*/ 0 h 1006"/>
                <a:gd name="T2" fmla="*/ 0 w 2332"/>
                <a:gd name="T3" fmla="*/ 1006 h 1006"/>
                <a:gd name="T4" fmla="*/ 2332 w 2332"/>
                <a:gd name="T5" fmla="*/ 519 h 1006"/>
                <a:gd name="T6" fmla="*/ 2332 w 2332"/>
                <a:gd name="T7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2" h="1006">
                  <a:moveTo>
                    <a:pt x="2332" y="0"/>
                  </a:moveTo>
                  <a:lnTo>
                    <a:pt x="0" y="1006"/>
                  </a:lnTo>
                  <a:lnTo>
                    <a:pt x="2332" y="519"/>
                  </a:lnTo>
                  <a:lnTo>
                    <a:pt x="2332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000000"/>
                </a:solidFill>
              </a:endParaRPr>
            </a:p>
          </p:txBody>
        </p:sp>
        <p:sp>
          <p:nvSpPr>
            <p:cNvPr id="50" name="Freeform 151"/>
            <p:cNvSpPr>
              <a:spLocks noEditPoints="1"/>
            </p:cNvSpPr>
            <p:nvPr userDrawn="1"/>
          </p:nvSpPr>
          <p:spPr bwMode="auto">
            <a:xfrm>
              <a:off x="9018588" y="6362701"/>
              <a:ext cx="1155700" cy="827088"/>
            </a:xfrm>
            <a:custGeom>
              <a:avLst/>
              <a:gdLst>
                <a:gd name="T0" fmla="*/ 220 w 2912"/>
                <a:gd name="T1" fmla="*/ 1769 h 2606"/>
                <a:gd name="T2" fmla="*/ 238 w 2912"/>
                <a:gd name="T3" fmla="*/ 2000 h 2606"/>
                <a:gd name="T4" fmla="*/ 143 w 2912"/>
                <a:gd name="T5" fmla="*/ 2016 h 2606"/>
                <a:gd name="T6" fmla="*/ 331 w 2912"/>
                <a:gd name="T7" fmla="*/ 1962 h 2606"/>
                <a:gd name="T8" fmla="*/ 392 w 2912"/>
                <a:gd name="T9" fmla="*/ 2069 h 2606"/>
                <a:gd name="T10" fmla="*/ 1075 w 2912"/>
                <a:gd name="T11" fmla="*/ 1840 h 2606"/>
                <a:gd name="T12" fmla="*/ 1147 w 2912"/>
                <a:gd name="T13" fmla="*/ 1936 h 2606"/>
                <a:gd name="T14" fmla="*/ 657 w 2912"/>
                <a:gd name="T15" fmla="*/ 1722 h 2606"/>
                <a:gd name="T16" fmla="*/ 696 w 2912"/>
                <a:gd name="T17" fmla="*/ 1905 h 2606"/>
                <a:gd name="T18" fmla="*/ 811 w 2912"/>
                <a:gd name="T19" fmla="*/ 2065 h 2606"/>
                <a:gd name="T20" fmla="*/ 785 w 2912"/>
                <a:gd name="T21" fmla="*/ 1876 h 2606"/>
                <a:gd name="T22" fmla="*/ 1906 w 2912"/>
                <a:gd name="T23" fmla="*/ 2072 h 2606"/>
                <a:gd name="T24" fmla="*/ 2035 w 2912"/>
                <a:gd name="T25" fmla="*/ 1946 h 2606"/>
                <a:gd name="T26" fmla="*/ 1981 w 2912"/>
                <a:gd name="T27" fmla="*/ 1927 h 2606"/>
                <a:gd name="T28" fmla="*/ 1942 w 2912"/>
                <a:gd name="T29" fmla="*/ 1876 h 2606"/>
                <a:gd name="T30" fmla="*/ 1234 w 2912"/>
                <a:gd name="T31" fmla="*/ 1932 h 2606"/>
                <a:gd name="T32" fmla="*/ 1362 w 2912"/>
                <a:gd name="T33" fmla="*/ 2054 h 2606"/>
                <a:gd name="T34" fmla="*/ 1389 w 2912"/>
                <a:gd name="T35" fmla="*/ 2143 h 2606"/>
                <a:gd name="T36" fmla="*/ 1291 w 2912"/>
                <a:gd name="T37" fmla="*/ 1984 h 2606"/>
                <a:gd name="T38" fmla="*/ 1629 w 2912"/>
                <a:gd name="T39" fmla="*/ 1868 h 2606"/>
                <a:gd name="T40" fmla="*/ 1539 w 2912"/>
                <a:gd name="T41" fmla="*/ 1980 h 2606"/>
                <a:gd name="T42" fmla="*/ 1718 w 2912"/>
                <a:gd name="T43" fmla="*/ 1905 h 2606"/>
                <a:gd name="T44" fmla="*/ 1590 w 2912"/>
                <a:gd name="T45" fmla="*/ 1990 h 2606"/>
                <a:gd name="T46" fmla="*/ 1611 w 2912"/>
                <a:gd name="T47" fmla="*/ 2024 h 2606"/>
                <a:gd name="T48" fmla="*/ 2113 w 2912"/>
                <a:gd name="T49" fmla="*/ 1968 h 2606"/>
                <a:gd name="T50" fmla="*/ 2100 w 2912"/>
                <a:gd name="T51" fmla="*/ 1841 h 2606"/>
                <a:gd name="T52" fmla="*/ 2160 w 2912"/>
                <a:gd name="T53" fmla="*/ 2079 h 2606"/>
                <a:gd name="T54" fmla="*/ 2189 w 2912"/>
                <a:gd name="T55" fmla="*/ 1904 h 2606"/>
                <a:gd name="T56" fmla="*/ 2742 w 2912"/>
                <a:gd name="T57" fmla="*/ 1949 h 2606"/>
                <a:gd name="T58" fmla="*/ 2575 w 2912"/>
                <a:gd name="T59" fmla="*/ 1875 h 2606"/>
                <a:gd name="T60" fmla="*/ 2689 w 2912"/>
                <a:gd name="T61" fmla="*/ 2072 h 2606"/>
                <a:gd name="T62" fmla="*/ 2488 w 2912"/>
                <a:gd name="T63" fmla="*/ 1986 h 2606"/>
                <a:gd name="T64" fmla="*/ 2456 w 2912"/>
                <a:gd name="T65" fmla="*/ 2064 h 2606"/>
                <a:gd name="T66" fmla="*/ 2324 w 2912"/>
                <a:gd name="T67" fmla="*/ 2074 h 2606"/>
                <a:gd name="T68" fmla="*/ 2353 w 2912"/>
                <a:gd name="T69" fmla="*/ 2018 h 2606"/>
                <a:gd name="T70" fmla="*/ 2827 w 2912"/>
                <a:gd name="T71" fmla="*/ 1825 h 2606"/>
                <a:gd name="T72" fmla="*/ 919 w 2912"/>
                <a:gd name="T73" fmla="*/ 2072 h 2606"/>
                <a:gd name="T74" fmla="*/ 2278 w 2912"/>
                <a:gd name="T75" fmla="*/ 2305 h 2606"/>
                <a:gd name="T76" fmla="*/ 2367 w 2912"/>
                <a:gd name="T77" fmla="*/ 2508 h 2606"/>
                <a:gd name="T78" fmla="*/ 2344 w 2912"/>
                <a:gd name="T79" fmla="*/ 2311 h 2606"/>
                <a:gd name="T80" fmla="*/ 591 w 2912"/>
                <a:gd name="T81" fmla="*/ 2315 h 2606"/>
                <a:gd name="T82" fmla="*/ 634 w 2912"/>
                <a:gd name="T83" fmla="*/ 2327 h 2606"/>
                <a:gd name="T84" fmla="*/ 190 w 2912"/>
                <a:gd name="T85" fmla="*/ 2379 h 2606"/>
                <a:gd name="T86" fmla="*/ 292 w 2912"/>
                <a:gd name="T87" fmla="*/ 2422 h 2606"/>
                <a:gd name="T88" fmla="*/ 475 w 2912"/>
                <a:gd name="T89" fmla="*/ 2422 h 2606"/>
                <a:gd name="T90" fmla="*/ 353 w 2912"/>
                <a:gd name="T91" fmla="*/ 2434 h 2606"/>
                <a:gd name="T92" fmla="*/ 414 w 2912"/>
                <a:gd name="T93" fmla="*/ 2434 h 2606"/>
                <a:gd name="T94" fmla="*/ 2072 w 2912"/>
                <a:gd name="T95" fmla="*/ 2273 h 2606"/>
                <a:gd name="T96" fmla="*/ 1506 w 2912"/>
                <a:gd name="T97" fmla="*/ 2258 h 2606"/>
                <a:gd name="T98" fmla="*/ 1827 w 2912"/>
                <a:gd name="T99" fmla="*/ 2280 h 2606"/>
                <a:gd name="T100" fmla="*/ 1888 w 2912"/>
                <a:gd name="T101" fmla="*/ 2511 h 2606"/>
                <a:gd name="T102" fmla="*/ 1943 w 2912"/>
                <a:gd name="T103" fmla="*/ 2274 h 2606"/>
                <a:gd name="T104" fmla="*/ 1888 w 2912"/>
                <a:gd name="T105" fmla="*/ 2310 h 2606"/>
                <a:gd name="T106" fmla="*/ 723 w 2912"/>
                <a:gd name="T107" fmla="*/ 2155 h 2606"/>
                <a:gd name="T108" fmla="*/ 1133 w 2912"/>
                <a:gd name="T109" fmla="*/ 2269 h 2606"/>
                <a:gd name="T110" fmla="*/ 1045 w 2912"/>
                <a:gd name="T111" fmla="*/ 2324 h 2606"/>
                <a:gd name="T112" fmla="*/ 1207 w 2912"/>
                <a:gd name="T113" fmla="*/ 2315 h 2606"/>
                <a:gd name="T114" fmla="*/ 1306 w 2912"/>
                <a:gd name="T115" fmla="*/ 2505 h 2606"/>
                <a:gd name="T116" fmla="*/ 1323 w 2912"/>
                <a:gd name="T117" fmla="*/ 2599 h 2606"/>
                <a:gd name="T118" fmla="*/ 1277 w 2912"/>
                <a:gd name="T119" fmla="*/ 2451 h 2606"/>
                <a:gd name="T120" fmla="*/ 937 w 2912"/>
                <a:gd name="T121" fmla="*/ 2367 h 2606"/>
                <a:gd name="T122" fmla="*/ 375 w 2912"/>
                <a:gd name="T123" fmla="*/ 1073 h 2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12" h="2606">
                  <a:moveTo>
                    <a:pt x="242" y="1964"/>
                  </a:moveTo>
                  <a:lnTo>
                    <a:pt x="242" y="1964"/>
                  </a:lnTo>
                  <a:lnTo>
                    <a:pt x="242" y="1956"/>
                  </a:lnTo>
                  <a:lnTo>
                    <a:pt x="241" y="1948"/>
                  </a:lnTo>
                  <a:lnTo>
                    <a:pt x="238" y="1934"/>
                  </a:lnTo>
                  <a:lnTo>
                    <a:pt x="233" y="1921"/>
                  </a:lnTo>
                  <a:lnTo>
                    <a:pt x="227" y="1911"/>
                  </a:lnTo>
                  <a:lnTo>
                    <a:pt x="220" y="1904"/>
                  </a:lnTo>
                  <a:lnTo>
                    <a:pt x="212" y="1898"/>
                  </a:lnTo>
                  <a:lnTo>
                    <a:pt x="206" y="1893"/>
                  </a:lnTo>
                  <a:lnTo>
                    <a:pt x="200" y="1889"/>
                  </a:lnTo>
                  <a:lnTo>
                    <a:pt x="200" y="1889"/>
                  </a:lnTo>
                  <a:lnTo>
                    <a:pt x="207" y="1883"/>
                  </a:lnTo>
                  <a:lnTo>
                    <a:pt x="213" y="1877"/>
                  </a:lnTo>
                  <a:lnTo>
                    <a:pt x="219" y="1870"/>
                  </a:lnTo>
                  <a:lnTo>
                    <a:pt x="224" y="1861"/>
                  </a:lnTo>
                  <a:lnTo>
                    <a:pt x="228" y="1852"/>
                  </a:lnTo>
                  <a:lnTo>
                    <a:pt x="230" y="1843"/>
                  </a:lnTo>
                  <a:lnTo>
                    <a:pt x="232" y="1833"/>
                  </a:lnTo>
                  <a:lnTo>
                    <a:pt x="232" y="1822"/>
                  </a:lnTo>
                  <a:lnTo>
                    <a:pt x="232" y="1822"/>
                  </a:lnTo>
                  <a:lnTo>
                    <a:pt x="232" y="1812"/>
                  </a:lnTo>
                  <a:lnTo>
                    <a:pt x="231" y="1802"/>
                  </a:lnTo>
                  <a:lnTo>
                    <a:pt x="229" y="1793"/>
                  </a:lnTo>
                  <a:lnTo>
                    <a:pt x="227" y="1785"/>
                  </a:lnTo>
                  <a:lnTo>
                    <a:pt x="224" y="1776"/>
                  </a:lnTo>
                  <a:lnTo>
                    <a:pt x="220" y="1769"/>
                  </a:lnTo>
                  <a:lnTo>
                    <a:pt x="214" y="1763"/>
                  </a:lnTo>
                  <a:lnTo>
                    <a:pt x="209" y="1756"/>
                  </a:lnTo>
                  <a:lnTo>
                    <a:pt x="203" y="1752"/>
                  </a:lnTo>
                  <a:lnTo>
                    <a:pt x="197" y="1747"/>
                  </a:lnTo>
                  <a:lnTo>
                    <a:pt x="189" y="1743"/>
                  </a:lnTo>
                  <a:lnTo>
                    <a:pt x="181" y="1739"/>
                  </a:lnTo>
                  <a:lnTo>
                    <a:pt x="173" y="1737"/>
                  </a:lnTo>
                  <a:lnTo>
                    <a:pt x="163" y="1734"/>
                  </a:lnTo>
                  <a:lnTo>
                    <a:pt x="154" y="1734"/>
                  </a:lnTo>
                  <a:lnTo>
                    <a:pt x="144" y="1733"/>
                  </a:lnTo>
                  <a:lnTo>
                    <a:pt x="21" y="1733"/>
                  </a:lnTo>
                  <a:lnTo>
                    <a:pt x="21" y="2072"/>
                  </a:lnTo>
                  <a:lnTo>
                    <a:pt x="143" y="2072"/>
                  </a:lnTo>
                  <a:lnTo>
                    <a:pt x="143" y="2072"/>
                  </a:lnTo>
                  <a:lnTo>
                    <a:pt x="154" y="2072"/>
                  </a:lnTo>
                  <a:lnTo>
                    <a:pt x="164" y="2071"/>
                  </a:lnTo>
                  <a:lnTo>
                    <a:pt x="175" y="2069"/>
                  </a:lnTo>
                  <a:lnTo>
                    <a:pt x="184" y="2065"/>
                  </a:lnTo>
                  <a:lnTo>
                    <a:pt x="194" y="2061"/>
                  </a:lnTo>
                  <a:lnTo>
                    <a:pt x="202" y="2056"/>
                  </a:lnTo>
                  <a:lnTo>
                    <a:pt x="209" y="2050"/>
                  </a:lnTo>
                  <a:lnTo>
                    <a:pt x="215" y="2044"/>
                  </a:lnTo>
                  <a:lnTo>
                    <a:pt x="222" y="2037"/>
                  </a:lnTo>
                  <a:lnTo>
                    <a:pt x="227" y="2028"/>
                  </a:lnTo>
                  <a:lnTo>
                    <a:pt x="232" y="2020"/>
                  </a:lnTo>
                  <a:lnTo>
                    <a:pt x="235" y="2010"/>
                  </a:lnTo>
                  <a:lnTo>
                    <a:pt x="238" y="2000"/>
                  </a:lnTo>
                  <a:lnTo>
                    <a:pt x="240" y="1989"/>
                  </a:lnTo>
                  <a:lnTo>
                    <a:pt x="241" y="1977"/>
                  </a:lnTo>
                  <a:lnTo>
                    <a:pt x="242" y="1964"/>
                  </a:lnTo>
                  <a:lnTo>
                    <a:pt x="242" y="1964"/>
                  </a:lnTo>
                  <a:close/>
                  <a:moveTo>
                    <a:pt x="143" y="2016"/>
                  </a:moveTo>
                  <a:lnTo>
                    <a:pt x="74" y="2016"/>
                  </a:lnTo>
                  <a:lnTo>
                    <a:pt x="74" y="1919"/>
                  </a:lnTo>
                  <a:lnTo>
                    <a:pt x="143" y="1919"/>
                  </a:lnTo>
                  <a:lnTo>
                    <a:pt x="143" y="1919"/>
                  </a:lnTo>
                  <a:lnTo>
                    <a:pt x="153" y="1920"/>
                  </a:lnTo>
                  <a:lnTo>
                    <a:pt x="161" y="1921"/>
                  </a:lnTo>
                  <a:lnTo>
                    <a:pt x="169" y="1925"/>
                  </a:lnTo>
                  <a:lnTo>
                    <a:pt x="175" y="1931"/>
                  </a:lnTo>
                  <a:lnTo>
                    <a:pt x="180" y="1937"/>
                  </a:lnTo>
                  <a:lnTo>
                    <a:pt x="183" y="1946"/>
                  </a:lnTo>
                  <a:lnTo>
                    <a:pt x="185" y="1956"/>
                  </a:lnTo>
                  <a:lnTo>
                    <a:pt x="186" y="1967"/>
                  </a:lnTo>
                  <a:lnTo>
                    <a:pt x="186" y="1967"/>
                  </a:lnTo>
                  <a:lnTo>
                    <a:pt x="185" y="1978"/>
                  </a:lnTo>
                  <a:lnTo>
                    <a:pt x="183" y="1988"/>
                  </a:lnTo>
                  <a:lnTo>
                    <a:pt x="179" y="1996"/>
                  </a:lnTo>
                  <a:lnTo>
                    <a:pt x="175" y="2002"/>
                  </a:lnTo>
                  <a:lnTo>
                    <a:pt x="169" y="2009"/>
                  </a:lnTo>
                  <a:lnTo>
                    <a:pt x="161" y="2012"/>
                  </a:lnTo>
                  <a:lnTo>
                    <a:pt x="152" y="2015"/>
                  </a:lnTo>
                  <a:lnTo>
                    <a:pt x="143" y="2016"/>
                  </a:lnTo>
                  <a:lnTo>
                    <a:pt x="143" y="2016"/>
                  </a:lnTo>
                  <a:close/>
                  <a:moveTo>
                    <a:pt x="142" y="1863"/>
                  </a:moveTo>
                  <a:lnTo>
                    <a:pt x="74" y="1863"/>
                  </a:lnTo>
                  <a:lnTo>
                    <a:pt x="74" y="1791"/>
                  </a:lnTo>
                  <a:lnTo>
                    <a:pt x="139" y="1791"/>
                  </a:lnTo>
                  <a:lnTo>
                    <a:pt x="139" y="1791"/>
                  </a:lnTo>
                  <a:lnTo>
                    <a:pt x="148" y="1792"/>
                  </a:lnTo>
                  <a:lnTo>
                    <a:pt x="156" y="1793"/>
                  </a:lnTo>
                  <a:lnTo>
                    <a:pt x="162" y="1796"/>
                  </a:lnTo>
                  <a:lnTo>
                    <a:pt x="168" y="1800"/>
                  </a:lnTo>
                  <a:lnTo>
                    <a:pt x="172" y="1806"/>
                  </a:lnTo>
                  <a:lnTo>
                    <a:pt x="175" y="1812"/>
                  </a:lnTo>
                  <a:lnTo>
                    <a:pt x="176" y="1819"/>
                  </a:lnTo>
                  <a:lnTo>
                    <a:pt x="177" y="1828"/>
                  </a:lnTo>
                  <a:lnTo>
                    <a:pt x="177" y="1828"/>
                  </a:lnTo>
                  <a:lnTo>
                    <a:pt x="177" y="1834"/>
                  </a:lnTo>
                  <a:lnTo>
                    <a:pt x="176" y="1840"/>
                  </a:lnTo>
                  <a:lnTo>
                    <a:pt x="174" y="1846"/>
                  </a:lnTo>
                  <a:lnTo>
                    <a:pt x="171" y="1851"/>
                  </a:lnTo>
                  <a:lnTo>
                    <a:pt x="165" y="1856"/>
                  </a:lnTo>
                  <a:lnTo>
                    <a:pt x="159" y="1860"/>
                  </a:lnTo>
                  <a:lnTo>
                    <a:pt x="152" y="1862"/>
                  </a:lnTo>
                  <a:lnTo>
                    <a:pt x="142" y="1863"/>
                  </a:lnTo>
                  <a:lnTo>
                    <a:pt x="142" y="1863"/>
                  </a:lnTo>
                  <a:close/>
                  <a:moveTo>
                    <a:pt x="279" y="1965"/>
                  </a:moveTo>
                  <a:lnTo>
                    <a:pt x="279" y="1825"/>
                  </a:lnTo>
                  <a:lnTo>
                    <a:pt x="331" y="1825"/>
                  </a:lnTo>
                  <a:lnTo>
                    <a:pt x="331" y="1962"/>
                  </a:lnTo>
                  <a:lnTo>
                    <a:pt x="331" y="1962"/>
                  </a:lnTo>
                  <a:lnTo>
                    <a:pt x="331" y="1975"/>
                  </a:lnTo>
                  <a:lnTo>
                    <a:pt x="333" y="1989"/>
                  </a:lnTo>
                  <a:lnTo>
                    <a:pt x="336" y="1999"/>
                  </a:lnTo>
                  <a:lnTo>
                    <a:pt x="340" y="2007"/>
                  </a:lnTo>
                  <a:lnTo>
                    <a:pt x="346" y="2013"/>
                  </a:lnTo>
                  <a:lnTo>
                    <a:pt x="352" y="2018"/>
                  </a:lnTo>
                  <a:lnTo>
                    <a:pt x="360" y="2021"/>
                  </a:lnTo>
                  <a:lnTo>
                    <a:pt x="369" y="2022"/>
                  </a:lnTo>
                  <a:lnTo>
                    <a:pt x="369" y="2022"/>
                  </a:lnTo>
                  <a:lnTo>
                    <a:pt x="379" y="2021"/>
                  </a:lnTo>
                  <a:lnTo>
                    <a:pt x="386" y="2018"/>
                  </a:lnTo>
                  <a:lnTo>
                    <a:pt x="393" y="2013"/>
                  </a:lnTo>
                  <a:lnTo>
                    <a:pt x="399" y="2007"/>
                  </a:lnTo>
                  <a:lnTo>
                    <a:pt x="403" y="1999"/>
                  </a:lnTo>
                  <a:lnTo>
                    <a:pt x="406" y="1988"/>
                  </a:lnTo>
                  <a:lnTo>
                    <a:pt x="408" y="1975"/>
                  </a:lnTo>
                  <a:lnTo>
                    <a:pt x="408" y="1962"/>
                  </a:lnTo>
                  <a:lnTo>
                    <a:pt x="408" y="1825"/>
                  </a:lnTo>
                  <a:lnTo>
                    <a:pt x="460" y="1825"/>
                  </a:lnTo>
                  <a:lnTo>
                    <a:pt x="460" y="2072"/>
                  </a:lnTo>
                  <a:lnTo>
                    <a:pt x="408" y="2072"/>
                  </a:lnTo>
                  <a:lnTo>
                    <a:pt x="408" y="2053"/>
                  </a:lnTo>
                  <a:lnTo>
                    <a:pt x="408" y="2053"/>
                  </a:lnTo>
                  <a:lnTo>
                    <a:pt x="404" y="2059"/>
                  </a:lnTo>
                  <a:lnTo>
                    <a:pt x="398" y="2064"/>
                  </a:lnTo>
                  <a:lnTo>
                    <a:pt x="392" y="2069"/>
                  </a:lnTo>
                  <a:lnTo>
                    <a:pt x="386" y="2071"/>
                  </a:lnTo>
                  <a:lnTo>
                    <a:pt x="380" y="2075"/>
                  </a:lnTo>
                  <a:lnTo>
                    <a:pt x="373" y="2076"/>
                  </a:lnTo>
                  <a:lnTo>
                    <a:pt x="365" y="2077"/>
                  </a:lnTo>
                  <a:lnTo>
                    <a:pt x="358" y="2079"/>
                  </a:lnTo>
                  <a:lnTo>
                    <a:pt x="358" y="2079"/>
                  </a:lnTo>
                  <a:lnTo>
                    <a:pt x="346" y="2077"/>
                  </a:lnTo>
                  <a:lnTo>
                    <a:pt x="335" y="2075"/>
                  </a:lnTo>
                  <a:lnTo>
                    <a:pt x="326" y="2071"/>
                  </a:lnTo>
                  <a:lnTo>
                    <a:pt x="316" y="2066"/>
                  </a:lnTo>
                  <a:lnTo>
                    <a:pt x="309" y="2060"/>
                  </a:lnTo>
                  <a:lnTo>
                    <a:pt x="303" y="2054"/>
                  </a:lnTo>
                  <a:lnTo>
                    <a:pt x="298" y="2045"/>
                  </a:lnTo>
                  <a:lnTo>
                    <a:pt x="292" y="2037"/>
                  </a:lnTo>
                  <a:lnTo>
                    <a:pt x="289" y="2028"/>
                  </a:lnTo>
                  <a:lnTo>
                    <a:pt x="286" y="2020"/>
                  </a:lnTo>
                  <a:lnTo>
                    <a:pt x="282" y="2000"/>
                  </a:lnTo>
                  <a:lnTo>
                    <a:pt x="280" y="1981"/>
                  </a:lnTo>
                  <a:lnTo>
                    <a:pt x="279" y="1965"/>
                  </a:lnTo>
                  <a:lnTo>
                    <a:pt x="279" y="1965"/>
                  </a:lnTo>
                  <a:close/>
                  <a:moveTo>
                    <a:pt x="1070" y="2072"/>
                  </a:moveTo>
                  <a:lnTo>
                    <a:pt x="1018" y="2072"/>
                  </a:lnTo>
                  <a:lnTo>
                    <a:pt x="1018" y="1825"/>
                  </a:lnTo>
                  <a:lnTo>
                    <a:pt x="1070" y="1825"/>
                  </a:lnTo>
                  <a:lnTo>
                    <a:pt x="1070" y="1846"/>
                  </a:lnTo>
                  <a:lnTo>
                    <a:pt x="1070" y="1846"/>
                  </a:lnTo>
                  <a:lnTo>
                    <a:pt x="1075" y="1840"/>
                  </a:lnTo>
                  <a:lnTo>
                    <a:pt x="1080" y="1834"/>
                  </a:lnTo>
                  <a:lnTo>
                    <a:pt x="1087" y="1830"/>
                  </a:lnTo>
                  <a:lnTo>
                    <a:pt x="1093" y="1827"/>
                  </a:lnTo>
                  <a:lnTo>
                    <a:pt x="1100" y="1823"/>
                  </a:lnTo>
                  <a:lnTo>
                    <a:pt x="1106" y="1822"/>
                  </a:lnTo>
                  <a:lnTo>
                    <a:pt x="1115" y="1820"/>
                  </a:lnTo>
                  <a:lnTo>
                    <a:pt x="1122" y="1819"/>
                  </a:lnTo>
                  <a:lnTo>
                    <a:pt x="1122" y="1819"/>
                  </a:lnTo>
                  <a:lnTo>
                    <a:pt x="1131" y="1820"/>
                  </a:lnTo>
                  <a:lnTo>
                    <a:pt x="1140" y="1822"/>
                  </a:lnTo>
                  <a:lnTo>
                    <a:pt x="1148" y="1824"/>
                  </a:lnTo>
                  <a:lnTo>
                    <a:pt x="1155" y="1827"/>
                  </a:lnTo>
                  <a:lnTo>
                    <a:pt x="1163" y="1830"/>
                  </a:lnTo>
                  <a:lnTo>
                    <a:pt x="1169" y="1836"/>
                  </a:lnTo>
                  <a:lnTo>
                    <a:pt x="1174" y="1841"/>
                  </a:lnTo>
                  <a:lnTo>
                    <a:pt x="1179" y="1849"/>
                  </a:lnTo>
                  <a:lnTo>
                    <a:pt x="1184" y="1856"/>
                  </a:lnTo>
                  <a:lnTo>
                    <a:pt x="1187" y="1865"/>
                  </a:lnTo>
                  <a:lnTo>
                    <a:pt x="1192" y="1873"/>
                  </a:lnTo>
                  <a:lnTo>
                    <a:pt x="1194" y="1883"/>
                  </a:lnTo>
                  <a:lnTo>
                    <a:pt x="1196" y="1894"/>
                  </a:lnTo>
                  <a:lnTo>
                    <a:pt x="1198" y="1906"/>
                  </a:lnTo>
                  <a:lnTo>
                    <a:pt x="1199" y="1919"/>
                  </a:lnTo>
                  <a:lnTo>
                    <a:pt x="1199" y="1932"/>
                  </a:lnTo>
                  <a:lnTo>
                    <a:pt x="1199" y="2072"/>
                  </a:lnTo>
                  <a:lnTo>
                    <a:pt x="1147" y="2072"/>
                  </a:lnTo>
                  <a:lnTo>
                    <a:pt x="1147" y="1936"/>
                  </a:lnTo>
                  <a:lnTo>
                    <a:pt x="1147" y="1936"/>
                  </a:lnTo>
                  <a:lnTo>
                    <a:pt x="1147" y="1921"/>
                  </a:lnTo>
                  <a:lnTo>
                    <a:pt x="1145" y="1909"/>
                  </a:lnTo>
                  <a:lnTo>
                    <a:pt x="1142" y="1899"/>
                  </a:lnTo>
                  <a:lnTo>
                    <a:pt x="1138" y="1890"/>
                  </a:lnTo>
                  <a:lnTo>
                    <a:pt x="1132" y="1884"/>
                  </a:lnTo>
                  <a:lnTo>
                    <a:pt x="1126" y="1879"/>
                  </a:lnTo>
                  <a:lnTo>
                    <a:pt x="1119" y="1877"/>
                  </a:lnTo>
                  <a:lnTo>
                    <a:pt x="1109" y="1876"/>
                  </a:lnTo>
                  <a:lnTo>
                    <a:pt x="1109" y="1876"/>
                  </a:lnTo>
                  <a:lnTo>
                    <a:pt x="1100" y="1877"/>
                  </a:lnTo>
                  <a:lnTo>
                    <a:pt x="1092" y="1879"/>
                  </a:lnTo>
                  <a:lnTo>
                    <a:pt x="1085" y="1884"/>
                  </a:lnTo>
                  <a:lnTo>
                    <a:pt x="1080" y="1890"/>
                  </a:lnTo>
                  <a:lnTo>
                    <a:pt x="1075" y="1899"/>
                  </a:lnTo>
                  <a:lnTo>
                    <a:pt x="1072" y="1910"/>
                  </a:lnTo>
                  <a:lnTo>
                    <a:pt x="1070" y="1922"/>
                  </a:lnTo>
                  <a:lnTo>
                    <a:pt x="1070" y="1936"/>
                  </a:lnTo>
                  <a:lnTo>
                    <a:pt x="1070" y="2072"/>
                  </a:lnTo>
                  <a:close/>
                  <a:moveTo>
                    <a:pt x="559" y="1948"/>
                  </a:moveTo>
                  <a:lnTo>
                    <a:pt x="559" y="2072"/>
                  </a:lnTo>
                  <a:lnTo>
                    <a:pt x="507" y="2072"/>
                  </a:lnTo>
                  <a:lnTo>
                    <a:pt x="507" y="1825"/>
                  </a:lnTo>
                  <a:lnTo>
                    <a:pt x="559" y="1825"/>
                  </a:lnTo>
                  <a:lnTo>
                    <a:pt x="559" y="1948"/>
                  </a:lnTo>
                  <a:close/>
                  <a:moveTo>
                    <a:pt x="605" y="1753"/>
                  </a:moveTo>
                  <a:lnTo>
                    <a:pt x="657" y="1722"/>
                  </a:lnTo>
                  <a:lnTo>
                    <a:pt x="657" y="1946"/>
                  </a:lnTo>
                  <a:lnTo>
                    <a:pt x="657" y="2072"/>
                  </a:lnTo>
                  <a:lnTo>
                    <a:pt x="605" y="2072"/>
                  </a:lnTo>
                  <a:lnTo>
                    <a:pt x="605" y="1753"/>
                  </a:lnTo>
                  <a:close/>
                  <a:moveTo>
                    <a:pt x="821" y="1843"/>
                  </a:moveTo>
                  <a:lnTo>
                    <a:pt x="821" y="1843"/>
                  </a:lnTo>
                  <a:lnTo>
                    <a:pt x="817" y="1836"/>
                  </a:lnTo>
                  <a:lnTo>
                    <a:pt x="812" y="1833"/>
                  </a:lnTo>
                  <a:lnTo>
                    <a:pt x="806" y="1828"/>
                  </a:lnTo>
                  <a:lnTo>
                    <a:pt x="800" y="1825"/>
                  </a:lnTo>
                  <a:lnTo>
                    <a:pt x="794" y="1823"/>
                  </a:lnTo>
                  <a:lnTo>
                    <a:pt x="788" y="1820"/>
                  </a:lnTo>
                  <a:lnTo>
                    <a:pt x="775" y="1819"/>
                  </a:lnTo>
                  <a:lnTo>
                    <a:pt x="775" y="1819"/>
                  </a:lnTo>
                  <a:lnTo>
                    <a:pt x="766" y="1820"/>
                  </a:lnTo>
                  <a:lnTo>
                    <a:pt x="757" y="1822"/>
                  </a:lnTo>
                  <a:lnTo>
                    <a:pt x="748" y="1824"/>
                  </a:lnTo>
                  <a:lnTo>
                    <a:pt x="741" y="1828"/>
                  </a:lnTo>
                  <a:lnTo>
                    <a:pt x="734" y="1833"/>
                  </a:lnTo>
                  <a:lnTo>
                    <a:pt x="726" y="1839"/>
                  </a:lnTo>
                  <a:lnTo>
                    <a:pt x="720" y="1846"/>
                  </a:lnTo>
                  <a:lnTo>
                    <a:pt x="715" y="1854"/>
                  </a:lnTo>
                  <a:lnTo>
                    <a:pt x="710" y="1862"/>
                  </a:lnTo>
                  <a:lnTo>
                    <a:pt x="706" y="1872"/>
                  </a:lnTo>
                  <a:lnTo>
                    <a:pt x="701" y="1882"/>
                  </a:lnTo>
                  <a:lnTo>
                    <a:pt x="698" y="1893"/>
                  </a:lnTo>
                  <a:lnTo>
                    <a:pt x="696" y="1905"/>
                  </a:lnTo>
                  <a:lnTo>
                    <a:pt x="694" y="1919"/>
                  </a:lnTo>
                  <a:lnTo>
                    <a:pt x="693" y="1932"/>
                  </a:lnTo>
                  <a:lnTo>
                    <a:pt x="693" y="1946"/>
                  </a:lnTo>
                  <a:lnTo>
                    <a:pt x="693" y="1946"/>
                  </a:lnTo>
                  <a:lnTo>
                    <a:pt x="693" y="1962"/>
                  </a:lnTo>
                  <a:lnTo>
                    <a:pt x="694" y="1975"/>
                  </a:lnTo>
                  <a:lnTo>
                    <a:pt x="696" y="1989"/>
                  </a:lnTo>
                  <a:lnTo>
                    <a:pt x="698" y="2001"/>
                  </a:lnTo>
                  <a:lnTo>
                    <a:pt x="701" y="2013"/>
                  </a:lnTo>
                  <a:lnTo>
                    <a:pt x="705" y="2024"/>
                  </a:lnTo>
                  <a:lnTo>
                    <a:pt x="709" y="2034"/>
                  </a:lnTo>
                  <a:lnTo>
                    <a:pt x="714" y="2043"/>
                  </a:lnTo>
                  <a:lnTo>
                    <a:pt x="720" y="2052"/>
                  </a:lnTo>
                  <a:lnTo>
                    <a:pt x="725" y="2058"/>
                  </a:lnTo>
                  <a:lnTo>
                    <a:pt x="733" y="2064"/>
                  </a:lnTo>
                  <a:lnTo>
                    <a:pt x="740" y="2069"/>
                  </a:lnTo>
                  <a:lnTo>
                    <a:pt x="747" y="2072"/>
                  </a:lnTo>
                  <a:lnTo>
                    <a:pt x="756" y="2076"/>
                  </a:lnTo>
                  <a:lnTo>
                    <a:pt x="765" y="2077"/>
                  </a:lnTo>
                  <a:lnTo>
                    <a:pt x="774" y="2079"/>
                  </a:lnTo>
                  <a:lnTo>
                    <a:pt x="774" y="2079"/>
                  </a:lnTo>
                  <a:lnTo>
                    <a:pt x="781" y="2077"/>
                  </a:lnTo>
                  <a:lnTo>
                    <a:pt x="787" y="2076"/>
                  </a:lnTo>
                  <a:lnTo>
                    <a:pt x="793" y="2075"/>
                  </a:lnTo>
                  <a:lnTo>
                    <a:pt x="799" y="2072"/>
                  </a:lnTo>
                  <a:lnTo>
                    <a:pt x="804" y="2069"/>
                  </a:lnTo>
                  <a:lnTo>
                    <a:pt x="811" y="2065"/>
                  </a:lnTo>
                  <a:lnTo>
                    <a:pt x="816" y="2060"/>
                  </a:lnTo>
                  <a:lnTo>
                    <a:pt x="821" y="2054"/>
                  </a:lnTo>
                  <a:lnTo>
                    <a:pt x="821" y="2072"/>
                  </a:lnTo>
                  <a:lnTo>
                    <a:pt x="873" y="2072"/>
                  </a:lnTo>
                  <a:lnTo>
                    <a:pt x="873" y="1722"/>
                  </a:lnTo>
                  <a:lnTo>
                    <a:pt x="821" y="1753"/>
                  </a:lnTo>
                  <a:lnTo>
                    <a:pt x="821" y="1843"/>
                  </a:lnTo>
                  <a:close/>
                  <a:moveTo>
                    <a:pt x="785" y="2022"/>
                  </a:moveTo>
                  <a:lnTo>
                    <a:pt x="785" y="2022"/>
                  </a:lnTo>
                  <a:lnTo>
                    <a:pt x="778" y="2021"/>
                  </a:lnTo>
                  <a:lnTo>
                    <a:pt x="771" y="2018"/>
                  </a:lnTo>
                  <a:lnTo>
                    <a:pt x="765" y="2015"/>
                  </a:lnTo>
                  <a:lnTo>
                    <a:pt x="759" y="2007"/>
                  </a:lnTo>
                  <a:lnTo>
                    <a:pt x="753" y="1997"/>
                  </a:lnTo>
                  <a:lnTo>
                    <a:pt x="749" y="1984"/>
                  </a:lnTo>
                  <a:lnTo>
                    <a:pt x="746" y="1967"/>
                  </a:lnTo>
                  <a:lnTo>
                    <a:pt x="745" y="1945"/>
                  </a:lnTo>
                  <a:lnTo>
                    <a:pt x="745" y="1945"/>
                  </a:lnTo>
                  <a:lnTo>
                    <a:pt x="746" y="1925"/>
                  </a:lnTo>
                  <a:lnTo>
                    <a:pt x="749" y="1910"/>
                  </a:lnTo>
                  <a:lnTo>
                    <a:pt x="753" y="1898"/>
                  </a:lnTo>
                  <a:lnTo>
                    <a:pt x="759" y="1889"/>
                  </a:lnTo>
                  <a:lnTo>
                    <a:pt x="764" y="1882"/>
                  </a:lnTo>
                  <a:lnTo>
                    <a:pt x="771" y="1878"/>
                  </a:lnTo>
                  <a:lnTo>
                    <a:pt x="777" y="1876"/>
                  </a:lnTo>
                  <a:lnTo>
                    <a:pt x="785" y="1876"/>
                  </a:lnTo>
                  <a:lnTo>
                    <a:pt x="785" y="1876"/>
                  </a:lnTo>
                  <a:lnTo>
                    <a:pt x="791" y="1876"/>
                  </a:lnTo>
                  <a:lnTo>
                    <a:pt x="797" y="1878"/>
                  </a:lnTo>
                  <a:lnTo>
                    <a:pt x="803" y="1881"/>
                  </a:lnTo>
                  <a:lnTo>
                    <a:pt x="808" y="1884"/>
                  </a:lnTo>
                  <a:lnTo>
                    <a:pt x="812" y="1888"/>
                  </a:lnTo>
                  <a:lnTo>
                    <a:pt x="816" y="1892"/>
                  </a:lnTo>
                  <a:lnTo>
                    <a:pt x="821" y="1900"/>
                  </a:lnTo>
                  <a:lnTo>
                    <a:pt x="821" y="1997"/>
                  </a:lnTo>
                  <a:lnTo>
                    <a:pt x="821" y="1997"/>
                  </a:lnTo>
                  <a:lnTo>
                    <a:pt x="815" y="2006"/>
                  </a:lnTo>
                  <a:lnTo>
                    <a:pt x="808" y="2013"/>
                  </a:lnTo>
                  <a:lnTo>
                    <a:pt x="803" y="2017"/>
                  </a:lnTo>
                  <a:lnTo>
                    <a:pt x="797" y="2020"/>
                  </a:lnTo>
                  <a:lnTo>
                    <a:pt x="792" y="2021"/>
                  </a:lnTo>
                  <a:lnTo>
                    <a:pt x="785" y="2022"/>
                  </a:lnTo>
                  <a:lnTo>
                    <a:pt x="785" y="2022"/>
                  </a:lnTo>
                  <a:close/>
                  <a:moveTo>
                    <a:pt x="1951" y="1819"/>
                  </a:moveTo>
                  <a:lnTo>
                    <a:pt x="1951" y="1819"/>
                  </a:lnTo>
                  <a:lnTo>
                    <a:pt x="1946" y="1820"/>
                  </a:lnTo>
                  <a:lnTo>
                    <a:pt x="1940" y="1822"/>
                  </a:lnTo>
                  <a:lnTo>
                    <a:pt x="1927" y="1825"/>
                  </a:lnTo>
                  <a:lnTo>
                    <a:pt x="1916" y="1833"/>
                  </a:lnTo>
                  <a:lnTo>
                    <a:pt x="1906" y="1843"/>
                  </a:lnTo>
                  <a:lnTo>
                    <a:pt x="1906" y="1728"/>
                  </a:lnTo>
                  <a:lnTo>
                    <a:pt x="1854" y="1759"/>
                  </a:lnTo>
                  <a:lnTo>
                    <a:pt x="1854" y="2072"/>
                  </a:lnTo>
                  <a:lnTo>
                    <a:pt x="1906" y="2072"/>
                  </a:lnTo>
                  <a:lnTo>
                    <a:pt x="1906" y="2054"/>
                  </a:lnTo>
                  <a:lnTo>
                    <a:pt x="1906" y="2054"/>
                  </a:lnTo>
                  <a:lnTo>
                    <a:pt x="1910" y="2060"/>
                  </a:lnTo>
                  <a:lnTo>
                    <a:pt x="1916" y="2065"/>
                  </a:lnTo>
                  <a:lnTo>
                    <a:pt x="1921" y="2069"/>
                  </a:lnTo>
                  <a:lnTo>
                    <a:pt x="1927" y="2072"/>
                  </a:lnTo>
                  <a:lnTo>
                    <a:pt x="1933" y="2075"/>
                  </a:lnTo>
                  <a:lnTo>
                    <a:pt x="1940" y="2076"/>
                  </a:lnTo>
                  <a:lnTo>
                    <a:pt x="1946" y="2077"/>
                  </a:lnTo>
                  <a:lnTo>
                    <a:pt x="1952" y="2079"/>
                  </a:lnTo>
                  <a:lnTo>
                    <a:pt x="1952" y="2079"/>
                  </a:lnTo>
                  <a:lnTo>
                    <a:pt x="1962" y="2077"/>
                  </a:lnTo>
                  <a:lnTo>
                    <a:pt x="1971" y="2076"/>
                  </a:lnTo>
                  <a:lnTo>
                    <a:pt x="1979" y="2074"/>
                  </a:lnTo>
                  <a:lnTo>
                    <a:pt x="1988" y="2069"/>
                  </a:lnTo>
                  <a:lnTo>
                    <a:pt x="1995" y="2064"/>
                  </a:lnTo>
                  <a:lnTo>
                    <a:pt x="2001" y="2059"/>
                  </a:lnTo>
                  <a:lnTo>
                    <a:pt x="2008" y="2052"/>
                  </a:lnTo>
                  <a:lnTo>
                    <a:pt x="2013" y="2044"/>
                  </a:lnTo>
                  <a:lnTo>
                    <a:pt x="2018" y="2034"/>
                  </a:lnTo>
                  <a:lnTo>
                    <a:pt x="2022" y="2024"/>
                  </a:lnTo>
                  <a:lnTo>
                    <a:pt x="2025" y="2013"/>
                  </a:lnTo>
                  <a:lnTo>
                    <a:pt x="2028" y="2002"/>
                  </a:lnTo>
                  <a:lnTo>
                    <a:pt x="2032" y="1990"/>
                  </a:lnTo>
                  <a:lnTo>
                    <a:pt x="2033" y="1977"/>
                  </a:lnTo>
                  <a:lnTo>
                    <a:pt x="2034" y="1962"/>
                  </a:lnTo>
                  <a:lnTo>
                    <a:pt x="2035" y="1946"/>
                  </a:lnTo>
                  <a:lnTo>
                    <a:pt x="2035" y="1946"/>
                  </a:lnTo>
                  <a:lnTo>
                    <a:pt x="2034" y="1932"/>
                  </a:lnTo>
                  <a:lnTo>
                    <a:pt x="2033" y="1919"/>
                  </a:lnTo>
                  <a:lnTo>
                    <a:pt x="2030" y="1905"/>
                  </a:lnTo>
                  <a:lnTo>
                    <a:pt x="2028" y="1893"/>
                  </a:lnTo>
                  <a:lnTo>
                    <a:pt x="2025" y="1882"/>
                  </a:lnTo>
                  <a:lnTo>
                    <a:pt x="2021" y="1872"/>
                  </a:lnTo>
                  <a:lnTo>
                    <a:pt x="2017" y="1862"/>
                  </a:lnTo>
                  <a:lnTo>
                    <a:pt x="2012" y="1854"/>
                  </a:lnTo>
                  <a:lnTo>
                    <a:pt x="2007" y="1846"/>
                  </a:lnTo>
                  <a:lnTo>
                    <a:pt x="2000" y="1839"/>
                  </a:lnTo>
                  <a:lnTo>
                    <a:pt x="1993" y="1833"/>
                  </a:lnTo>
                  <a:lnTo>
                    <a:pt x="1986" y="1828"/>
                  </a:lnTo>
                  <a:lnTo>
                    <a:pt x="1978" y="1824"/>
                  </a:lnTo>
                  <a:lnTo>
                    <a:pt x="1970" y="1822"/>
                  </a:lnTo>
                  <a:lnTo>
                    <a:pt x="1961" y="1820"/>
                  </a:lnTo>
                  <a:lnTo>
                    <a:pt x="1951" y="1819"/>
                  </a:lnTo>
                  <a:lnTo>
                    <a:pt x="1951" y="1819"/>
                  </a:lnTo>
                  <a:close/>
                  <a:moveTo>
                    <a:pt x="1942" y="1876"/>
                  </a:moveTo>
                  <a:lnTo>
                    <a:pt x="1942" y="1876"/>
                  </a:lnTo>
                  <a:lnTo>
                    <a:pt x="1949" y="1877"/>
                  </a:lnTo>
                  <a:lnTo>
                    <a:pt x="1957" y="1879"/>
                  </a:lnTo>
                  <a:lnTo>
                    <a:pt x="1963" y="1884"/>
                  </a:lnTo>
                  <a:lnTo>
                    <a:pt x="1969" y="1892"/>
                  </a:lnTo>
                  <a:lnTo>
                    <a:pt x="1974" y="1900"/>
                  </a:lnTo>
                  <a:lnTo>
                    <a:pt x="1977" y="1913"/>
                  </a:lnTo>
                  <a:lnTo>
                    <a:pt x="1981" y="1927"/>
                  </a:lnTo>
                  <a:lnTo>
                    <a:pt x="1982" y="1945"/>
                  </a:lnTo>
                  <a:lnTo>
                    <a:pt x="1982" y="1945"/>
                  </a:lnTo>
                  <a:lnTo>
                    <a:pt x="1981" y="1963"/>
                  </a:lnTo>
                  <a:lnTo>
                    <a:pt x="1978" y="1979"/>
                  </a:lnTo>
                  <a:lnTo>
                    <a:pt x="1976" y="1991"/>
                  </a:lnTo>
                  <a:lnTo>
                    <a:pt x="1972" y="2002"/>
                  </a:lnTo>
                  <a:lnTo>
                    <a:pt x="1966" y="2011"/>
                  </a:lnTo>
                  <a:lnTo>
                    <a:pt x="1960" y="2017"/>
                  </a:lnTo>
                  <a:lnTo>
                    <a:pt x="1952" y="2021"/>
                  </a:lnTo>
                  <a:lnTo>
                    <a:pt x="1943" y="2022"/>
                  </a:lnTo>
                  <a:lnTo>
                    <a:pt x="1943" y="2022"/>
                  </a:lnTo>
                  <a:lnTo>
                    <a:pt x="1936" y="2021"/>
                  </a:lnTo>
                  <a:lnTo>
                    <a:pt x="1930" y="2020"/>
                  </a:lnTo>
                  <a:lnTo>
                    <a:pt x="1924" y="2016"/>
                  </a:lnTo>
                  <a:lnTo>
                    <a:pt x="1919" y="2013"/>
                  </a:lnTo>
                  <a:lnTo>
                    <a:pt x="1911" y="2005"/>
                  </a:lnTo>
                  <a:lnTo>
                    <a:pt x="1906" y="1999"/>
                  </a:lnTo>
                  <a:lnTo>
                    <a:pt x="1906" y="1900"/>
                  </a:lnTo>
                  <a:lnTo>
                    <a:pt x="1906" y="1900"/>
                  </a:lnTo>
                  <a:lnTo>
                    <a:pt x="1909" y="1895"/>
                  </a:lnTo>
                  <a:lnTo>
                    <a:pt x="1913" y="1890"/>
                  </a:lnTo>
                  <a:lnTo>
                    <a:pt x="1917" y="1886"/>
                  </a:lnTo>
                  <a:lnTo>
                    <a:pt x="1921" y="1882"/>
                  </a:lnTo>
                  <a:lnTo>
                    <a:pt x="1926" y="1879"/>
                  </a:lnTo>
                  <a:lnTo>
                    <a:pt x="1932" y="1877"/>
                  </a:lnTo>
                  <a:lnTo>
                    <a:pt x="1937" y="1876"/>
                  </a:lnTo>
                  <a:lnTo>
                    <a:pt x="1942" y="1876"/>
                  </a:lnTo>
                  <a:lnTo>
                    <a:pt x="1942" y="1876"/>
                  </a:lnTo>
                  <a:close/>
                  <a:moveTo>
                    <a:pt x="1362" y="1843"/>
                  </a:moveTo>
                  <a:lnTo>
                    <a:pt x="1362" y="1843"/>
                  </a:lnTo>
                  <a:lnTo>
                    <a:pt x="1358" y="1838"/>
                  </a:lnTo>
                  <a:lnTo>
                    <a:pt x="1353" y="1833"/>
                  </a:lnTo>
                  <a:lnTo>
                    <a:pt x="1347" y="1829"/>
                  </a:lnTo>
                  <a:lnTo>
                    <a:pt x="1342" y="1825"/>
                  </a:lnTo>
                  <a:lnTo>
                    <a:pt x="1335" y="1823"/>
                  </a:lnTo>
                  <a:lnTo>
                    <a:pt x="1329" y="1820"/>
                  </a:lnTo>
                  <a:lnTo>
                    <a:pt x="1323" y="1820"/>
                  </a:lnTo>
                  <a:lnTo>
                    <a:pt x="1317" y="1819"/>
                  </a:lnTo>
                  <a:lnTo>
                    <a:pt x="1317" y="1819"/>
                  </a:lnTo>
                  <a:lnTo>
                    <a:pt x="1307" y="1820"/>
                  </a:lnTo>
                  <a:lnTo>
                    <a:pt x="1298" y="1822"/>
                  </a:lnTo>
                  <a:lnTo>
                    <a:pt x="1289" y="1824"/>
                  </a:lnTo>
                  <a:lnTo>
                    <a:pt x="1282" y="1828"/>
                  </a:lnTo>
                  <a:lnTo>
                    <a:pt x="1275" y="1833"/>
                  </a:lnTo>
                  <a:lnTo>
                    <a:pt x="1268" y="1839"/>
                  </a:lnTo>
                  <a:lnTo>
                    <a:pt x="1261" y="1846"/>
                  </a:lnTo>
                  <a:lnTo>
                    <a:pt x="1256" y="1854"/>
                  </a:lnTo>
                  <a:lnTo>
                    <a:pt x="1251" y="1862"/>
                  </a:lnTo>
                  <a:lnTo>
                    <a:pt x="1247" y="1872"/>
                  </a:lnTo>
                  <a:lnTo>
                    <a:pt x="1243" y="1882"/>
                  </a:lnTo>
                  <a:lnTo>
                    <a:pt x="1240" y="1893"/>
                  </a:lnTo>
                  <a:lnTo>
                    <a:pt x="1237" y="1905"/>
                  </a:lnTo>
                  <a:lnTo>
                    <a:pt x="1235" y="1919"/>
                  </a:lnTo>
                  <a:lnTo>
                    <a:pt x="1234" y="1932"/>
                  </a:lnTo>
                  <a:lnTo>
                    <a:pt x="1234" y="1946"/>
                  </a:lnTo>
                  <a:lnTo>
                    <a:pt x="1234" y="1946"/>
                  </a:lnTo>
                  <a:lnTo>
                    <a:pt x="1234" y="1962"/>
                  </a:lnTo>
                  <a:lnTo>
                    <a:pt x="1235" y="1975"/>
                  </a:lnTo>
                  <a:lnTo>
                    <a:pt x="1237" y="1989"/>
                  </a:lnTo>
                  <a:lnTo>
                    <a:pt x="1240" y="2001"/>
                  </a:lnTo>
                  <a:lnTo>
                    <a:pt x="1243" y="2013"/>
                  </a:lnTo>
                  <a:lnTo>
                    <a:pt x="1246" y="2024"/>
                  </a:lnTo>
                  <a:lnTo>
                    <a:pt x="1251" y="2034"/>
                  </a:lnTo>
                  <a:lnTo>
                    <a:pt x="1255" y="2043"/>
                  </a:lnTo>
                  <a:lnTo>
                    <a:pt x="1261" y="2052"/>
                  </a:lnTo>
                  <a:lnTo>
                    <a:pt x="1267" y="2058"/>
                  </a:lnTo>
                  <a:lnTo>
                    <a:pt x="1274" y="2064"/>
                  </a:lnTo>
                  <a:lnTo>
                    <a:pt x="1281" y="2069"/>
                  </a:lnTo>
                  <a:lnTo>
                    <a:pt x="1288" y="2072"/>
                  </a:lnTo>
                  <a:lnTo>
                    <a:pt x="1297" y="2076"/>
                  </a:lnTo>
                  <a:lnTo>
                    <a:pt x="1306" y="2077"/>
                  </a:lnTo>
                  <a:lnTo>
                    <a:pt x="1315" y="2077"/>
                  </a:lnTo>
                  <a:lnTo>
                    <a:pt x="1315" y="2077"/>
                  </a:lnTo>
                  <a:lnTo>
                    <a:pt x="1322" y="2077"/>
                  </a:lnTo>
                  <a:lnTo>
                    <a:pt x="1328" y="2076"/>
                  </a:lnTo>
                  <a:lnTo>
                    <a:pt x="1334" y="2075"/>
                  </a:lnTo>
                  <a:lnTo>
                    <a:pt x="1340" y="2072"/>
                  </a:lnTo>
                  <a:lnTo>
                    <a:pt x="1347" y="2069"/>
                  </a:lnTo>
                  <a:lnTo>
                    <a:pt x="1352" y="2064"/>
                  </a:lnTo>
                  <a:lnTo>
                    <a:pt x="1357" y="2060"/>
                  </a:lnTo>
                  <a:lnTo>
                    <a:pt x="1362" y="2054"/>
                  </a:lnTo>
                  <a:lnTo>
                    <a:pt x="1362" y="2060"/>
                  </a:lnTo>
                  <a:lnTo>
                    <a:pt x="1362" y="2060"/>
                  </a:lnTo>
                  <a:lnTo>
                    <a:pt x="1362" y="2070"/>
                  </a:lnTo>
                  <a:lnTo>
                    <a:pt x="1361" y="2081"/>
                  </a:lnTo>
                  <a:lnTo>
                    <a:pt x="1359" y="2092"/>
                  </a:lnTo>
                  <a:lnTo>
                    <a:pt x="1357" y="2097"/>
                  </a:lnTo>
                  <a:lnTo>
                    <a:pt x="1354" y="2102"/>
                  </a:lnTo>
                  <a:lnTo>
                    <a:pt x="1351" y="2107"/>
                  </a:lnTo>
                  <a:lnTo>
                    <a:pt x="1347" y="2112"/>
                  </a:lnTo>
                  <a:lnTo>
                    <a:pt x="1340" y="2115"/>
                  </a:lnTo>
                  <a:lnTo>
                    <a:pt x="1334" y="2118"/>
                  </a:lnTo>
                  <a:lnTo>
                    <a:pt x="1327" y="2122"/>
                  </a:lnTo>
                  <a:lnTo>
                    <a:pt x="1318" y="2123"/>
                  </a:lnTo>
                  <a:lnTo>
                    <a:pt x="1307" y="2125"/>
                  </a:lnTo>
                  <a:lnTo>
                    <a:pt x="1296" y="2125"/>
                  </a:lnTo>
                  <a:lnTo>
                    <a:pt x="1294" y="2125"/>
                  </a:lnTo>
                  <a:lnTo>
                    <a:pt x="1311" y="2173"/>
                  </a:lnTo>
                  <a:lnTo>
                    <a:pt x="1312" y="2173"/>
                  </a:lnTo>
                  <a:lnTo>
                    <a:pt x="1312" y="2173"/>
                  </a:lnTo>
                  <a:lnTo>
                    <a:pt x="1325" y="2173"/>
                  </a:lnTo>
                  <a:lnTo>
                    <a:pt x="1336" y="2171"/>
                  </a:lnTo>
                  <a:lnTo>
                    <a:pt x="1348" y="2168"/>
                  </a:lnTo>
                  <a:lnTo>
                    <a:pt x="1357" y="2165"/>
                  </a:lnTo>
                  <a:lnTo>
                    <a:pt x="1366" y="2161"/>
                  </a:lnTo>
                  <a:lnTo>
                    <a:pt x="1375" y="2156"/>
                  </a:lnTo>
                  <a:lnTo>
                    <a:pt x="1382" y="2149"/>
                  </a:lnTo>
                  <a:lnTo>
                    <a:pt x="1389" y="2143"/>
                  </a:lnTo>
                  <a:lnTo>
                    <a:pt x="1396" y="2134"/>
                  </a:lnTo>
                  <a:lnTo>
                    <a:pt x="1400" y="2124"/>
                  </a:lnTo>
                  <a:lnTo>
                    <a:pt x="1405" y="2114"/>
                  </a:lnTo>
                  <a:lnTo>
                    <a:pt x="1408" y="2103"/>
                  </a:lnTo>
                  <a:lnTo>
                    <a:pt x="1411" y="2091"/>
                  </a:lnTo>
                  <a:lnTo>
                    <a:pt x="1413" y="2079"/>
                  </a:lnTo>
                  <a:lnTo>
                    <a:pt x="1414" y="2065"/>
                  </a:lnTo>
                  <a:lnTo>
                    <a:pt x="1414" y="2049"/>
                  </a:lnTo>
                  <a:lnTo>
                    <a:pt x="1414" y="1825"/>
                  </a:lnTo>
                  <a:lnTo>
                    <a:pt x="1362" y="1825"/>
                  </a:lnTo>
                  <a:lnTo>
                    <a:pt x="1362" y="1843"/>
                  </a:lnTo>
                  <a:close/>
                  <a:moveTo>
                    <a:pt x="1362" y="1900"/>
                  </a:moveTo>
                  <a:lnTo>
                    <a:pt x="1362" y="1997"/>
                  </a:lnTo>
                  <a:lnTo>
                    <a:pt x="1362" y="1997"/>
                  </a:lnTo>
                  <a:lnTo>
                    <a:pt x="1356" y="2006"/>
                  </a:lnTo>
                  <a:lnTo>
                    <a:pt x="1348" y="2015"/>
                  </a:lnTo>
                  <a:lnTo>
                    <a:pt x="1344" y="2017"/>
                  </a:lnTo>
                  <a:lnTo>
                    <a:pt x="1338" y="2020"/>
                  </a:lnTo>
                  <a:lnTo>
                    <a:pt x="1332" y="2021"/>
                  </a:lnTo>
                  <a:lnTo>
                    <a:pt x="1326" y="2022"/>
                  </a:lnTo>
                  <a:lnTo>
                    <a:pt x="1326" y="2022"/>
                  </a:lnTo>
                  <a:lnTo>
                    <a:pt x="1319" y="2021"/>
                  </a:lnTo>
                  <a:lnTo>
                    <a:pt x="1312" y="2018"/>
                  </a:lnTo>
                  <a:lnTo>
                    <a:pt x="1305" y="2013"/>
                  </a:lnTo>
                  <a:lnTo>
                    <a:pt x="1300" y="2007"/>
                  </a:lnTo>
                  <a:lnTo>
                    <a:pt x="1295" y="1997"/>
                  </a:lnTo>
                  <a:lnTo>
                    <a:pt x="1291" y="1984"/>
                  </a:lnTo>
                  <a:lnTo>
                    <a:pt x="1287" y="1967"/>
                  </a:lnTo>
                  <a:lnTo>
                    <a:pt x="1286" y="1945"/>
                  </a:lnTo>
                  <a:lnTo>
                    <a:pt x="1286" y="1945"/>
                  </a:lnTo>
                  <a:lnTo>
                    <a:pt x="1287" y="1925"/>
                  </a:lnTo>
                  <a:lnTo>
                    <a:pt x="1291" y="1910"/>
                  </a:lnTo>
                  <a:lnTo>
                    <a:pt x="1295" y="1898"/>
                  </a:lnTo>
                  <a:lnTo>
                    <a:pt x="1300" y="1889"/>
                  </a:lnTo>
                  <a:lnTo>
                    <a:pt x="1305" y="1882"/>
                  </a:lnTo>
                  <a:lnTo>
                    <a:pt x="1312" y="1878"/>
                  </a:lnTo>
                  <a:lnTo>
                    <a:pt x="1319" y="1876"/>
                  </a:lnTo>
                  <a:lnTo>
                    <a:pt x="1326" y="1876"/>
                  </a:lnTo>
                  <a:lnTo>
                    <a:pt x="1326" y="1876"/>
                  </a:lnTo>
                  <a:lnTo>
                    <a:pt x="1332" y="1876"/>
                  </a:lnTo>
                  <a:lnTo>
                    <a:pt x="1338" y="1878"/>
                  </a:lnTo>
                  <a:lnTo>
                    <a:pt x="1345" y="1881"/>
                  </a:lnTo>
                  <a:lnTo>
                    <a:pt x="1349" y="1883"/>
                  </a:lnTo>
                  <a:lnTo>
                    <a:pt x="1353" y="1888"/>
                  </a:lnTo>
                  <a:lnTo>
                    <a:pt x="1357" y="1892"/>
                  </a:lnTo>
                  <a:lnTo>
                    <a:pt x="1362" y="1900"/>
                  </a:lnTo>
                  <a:lnTo>
                    <a:pt x="1362" y="1900"/>
                  </a:lnTo>
                  <a:close/>
                  <a:moveTo>
                    <a:pt x="1576" y="1886"/>
                  </a:moveTo>
                  <a:lnTo>
                    <a:pt x="1576" y="1886"/>
                  </a:lnTo>
                  <a:lnTo>
                    <a:pt x="1588" y="1878"/>
                  </a:lnTo>
                  <a:lnTo>
                    <a:pt x="1601" y="1873"/>
                  </a:lnTo>
                  <a:lnTo>
                    <a:pt x="1614" y="1870"/>
                  </a:lnTo>
                  <a:lnTo>
                    <a:pt x="1629" y="1868"/>
                  </a:lnTo>
                  <a:lnTo>
                    <a:pt x="1629" y="1868"/>
                  </a:lnTo>
                  <a:lnTo>
                    <a:pt x="1638" y="1870"/>
                  </a:lnTo>
                  <a:lnTo>
                    <a:pt x="1645" y="1871"/>
                  </a:lnTo>
                  <a:lnTo>
                    <a:pt x="1652" y="1873"/>
                  </a:lnTo>
                  <a:lnTo>
                    <a:pt x="1657" y="1878"/>
                  </a:lnTo>
                  <a:lnTo>
                    <a:pt x="1661" y="1883"/>
                  </a:lnTo>
                  <a:lnTo>
                    <a:pt x="1664" y="1889"/>
                  </a:lnTo>
                  <a:lnTo>
                    <a:pt x="1666" y="1895"/>
                  </a:lnTo>
                  <a:lnTo>
                    <a:pt x="1666" y="1904"/>
                  </a:lnTo>
                  <a:lnTo>
                    <a:pt x="1666" y="1921"/>
                  </a:lnTo>
                  <a:lnTo>
                    <a:pt x="1666" y="1921"/>
                  </a:lnTo>
                  <a:lnTo>
                    <a:pt x="1657" y="1916"/>
                  </a:lnTo>
                  <a:lnTo>
                    <a:pt x="1645" y="1913"/>
                  </a:lnTo>
                  <a:lnTo>
                    <a:pt x="1634" y="1910"/>
                  </a:lnTo>
                  <a:lnTo>
                    <a:pt x="1621" y="1909"/>
                  </a:lnTo>
                  <a:lnTo>
                    <a:pt x="1621" y="1909"/>
                  </a:lnTo>
                  <a:lnTo>
                    <a:pt x="1607" y="1910"/>
                  </a:lnTo>
                  <a:lnTo>
                    <a:pt x="1592" y="1914"/>
                  </a:lnTo>
                  <a:lnTo>
                    <a:pt x="1579" y="1919"/>
                  </a:lnTo>
                  <a:lnTo>
                    <a:pt x="1572" y="1922"/>
                  </a:lnTo>
                  <a:lnTo>
                    <a:pt x="1565" y="1927"/>
                  </a:lnTo>
                  <a:lnTo>
                    <a:pt x="1560" y="1932"/>
                  </a:lnTo>
                  <a:lnTo>
                    <a:pt x="1555" y="1938"/>
                  </a:lnTo>
                  <a:lnTo>
                    <a:pt x="1550" y="1945"/>
                  </a:lnTo>
                  <a:lnTo>
                    <a:pt x="1546" y="1952"/>
                  </a:lnTo>
                  <a:lnTo>
                    <a:pt x="1542" y="1961"/>
                  </a:lnTo>
                  <a:lnTo>
                    <a:pt x="1540" y="1970"/>
                  </a:lnTo>
                  <a:lnTo>
                    <a:pt x="1539" y="1980"/>
                  </a:lnTo>
                  <a:lnTo>
                    <a:pt x="1538" y="1990"/>
                  </a:lnTo>
                  <a:lnTo>
                    <a:pt x="1538" y="1990"/>
                  </a:lnTo>
                  <a:lnTo>
                    <a:pt x="1539" y="2002"/>
                  </a:lnTo>
                  <a:lnTo>
                    <a:pt x="1540" y="2013"/>
                  </a:lnTo>
                  <a:lnTo>
                    <a:pt x="1542" y="2022"/>
                  </a:lnTo>
                  <a:lnTo>
                    <a:pt x="1546" y="2032"/>
                  </a:lnTo>
                  <a:lnTo>
                    <a:pt x="1549" y="2039"/>
                  </a:lnTo>
                  <a:lnTo>
                    <a:pt x="1554" y="2047"/>
                  </a:lnTo>
                  <a:lnTo>
                    <a:pt x="1558" y="2053"/>
                  </a:lnTo>
                  <a:lnTo>
                    <a:pt x="1564" y="2059"/>
                  </a:lnTo>
                  <a:lnTo>
                    <a:pt x="1569" y="2064"/>
                  </a:lnTo>
                  <a:lnTo>
                    <a:pt x="1576" y="2068"/>
                  </a:lnTo>
                  <a:lnTo>
                    <a:pt x="1589" y="2074"/>
                  </a:lnTo>
                  <a:lnTo>
                    <a:pt x="1603" y="2077"/>
                  </a:lnTo>
                  <a:lnTo>
                    <a:pt x="1616" y="2079"/>
                  </a:lnTo>
                  <a:lnTo>
                    <a:pt x="1616" y="2079"/>
                  </a:lnTo>
                  <a:lnTo>
                    <a:pt x="1628" y="2076"/>
                  </a:lnTo>
                  <a:lnTo>
                    <a:pt x="1635" y="2075"/>
                  </a:lnTo>
                  <a:lnTo>
                    <a:pt x="1641" y="2072"/>
                  </a:lnTo>
                  <a:lnTo>
                    <a:pt x="1649" y="2069"/>
                  </a:lnTo>
                  <a:lnTo>
                    <a:pt x="1655" y="2064"/>
                  </a:lnTo>
                  <a:lnTo>
                    <a:pt x="1661" y="2059"/>
                  </a:lnTo>
                  <a:lnTo>
                    <a:pt x="1666" y="2053"/>
                  </a:lnTo>
                  <a:lnTo>
                    <a:pt x="1666" y="2072"/>
                  </a:lnTo>
                  <a:lnTo>
                    <a:pt x="1718" y="2072"/>
                  </a:lnTo>
                  <a:lnTo>
                    <a:pt x="1718" y="1905"/>
                  </a:lnTo>
                  <a:lnTo>
                    <a:pt x="1718" y="1905"/>
                  </a:lnTo>
                  <a:lnTo>
                    <a:pt x="1718" y="1895"/>
                  </a:lnTo>
                  <a:lnTo>
                    <a:pt x="1717" y="1887"/>
                  </a:lnTo>
                  <a:lnTo>
                    <a:pt x="1715" y="1878"/>
                  </a:lnTo>
                  <a:lnTo>
                    <a:pt x="1713" y="1870"/>
                  </a:lnTo>
                  <a:lnTo>
                    <a:pt x="1709" y="1862"/>
                  </a:lnTo>
                  <a:lnTo>
                    <a:pt x="1706" y="1855"/>
                  </a:lnTo>
                  <a:lnTo>
                    <a:pt x="1701" y="1849"/>
                  </a:lnTo>
                  <a:lnTo>
                    <a:pt x="1695" y="1843"/>
                  </a:lnTo>
                  <a:lnTo>
                    <a:pt x="1690" y="1838"/>
                  </a:lnTo>
                  <a:lnTo>
                    <a:pt x="1684" y="1833"/>
                  </a:lnTo>
                  <a:lnTo>
                    <a:pt x="1677" y="1829"/>
                  </a:lnTo>
                  <a:lnTo>
                    <a:pt x="1669" y="1825"/>
                  </a:lnTo>
                  <a:lnTo>
                    <a:pt x="1661" y="1823"/>
                  </a:lnTo>
                  <a:lnTo>
                    <a:pt x="1653" y="1822"/>
                  </a:lnTo>
                  <a:lnTo>
                    <a:pt x="1643" y="1820"/>
                  </a:lnTo>
                  <a:lnTo>
                    <a:pt x="1634" y="1819"/>
                  </a:lnTo>
                  <a:lnTo>
                    <a:pt x="1634" y="1819"/>
                  </a:lnTo>
                  <a:lnTo>
                    <a:pt x="1623" y="1820"/>
                  </a:lnTo>
                  <a:lnTo>
                    <a:pt x="1613" y="1820"/>
                  </a:lnTo>
                  <a:lnTo>
                    <a:pt x="1603" y="1823"/>
                  </a:lnTo>
                  <a:lnTo>
                    <a:pt x="1592" y="1825"/>
                  </a:lnTo>
                  <a:lnTo>
                    <a:pt x="1583" y="1829"/>
                  </a:lnTo>
                  <a:lnTo>
                    <a:pt x="1574" y="1833"/>
                  </a:lnTo>
                  <a:lnTo>
                    <a:pt x="1564" y="1838"/>
                  </a:lnTo>
                  <a:lnTo>
                    <a:pt x="1555" y="1844"/>
                  </a:lnTo>
                  <a:lnTo>
                    <a:pt x="1576" y="1886"/>
                  </a:lnTo>
                  <a:close/>
                  <a:moveTo>
                    <a:pt x="1590" y="1990"/>
                  </a:moveTo>
                  <a:lnTo>
                    <a:pt x="1590" y="1990"/>
                  </a:lnTo>
                  <a:lnTo>
                    <a:pt x="1590" y="1983"/>
                  </a:lnTo>
                  <a:lnTo>
                    <a:pt x="1592" y="1975"/>
                  </a:lnTo>
                  <a:lnTo>
                    <a:pt x="1595" y="1969"/>
                  </a:lnTo>
                  <a:lnTo>
                    <a:pt x="1600" y="1964"/>
                  </a:lnTo>
                  <a:lnTo>
                    <a:pt x="1605" y="1961"/>
                  </a:lnTo>
                  <a:lnTo>
                    <a:pt x="1611" y="1958"/>
                  </a:lnTo>
                  <a:lnTo>
                    <a:pt x="1618" y="1956"/>
                  </a:lnTo>
                  <a:lnTo>
                    <a:pt x="1626" y="1956"/>
                  </a:lnTo>
                  <a:lnTo>
                    <a:pt x="1626" y="1956"/>
                  </a:lnTo>
                  <a:lnTo>
                    <a:pt x="1637" y="1956"/>
                  </a:lnTo>
                  <a:lnTo>
                    <a:pt x="1647" y="1958"/>
                  </a:lnTo>
                  <a:lnTo>
                    <a:pt x="1657" y="1962"/>
                  </a:lnTo>
                  <a:lnTo>
                    <a:pt x="1666" y="1968"/>
                  </a:lnTo>
                  <a:lnTo>
                    <a:pt x="1666" y="2001"/>
                  </a:lnTo>
                  <a:lnTo>
                    <a:pt x="1666" y="2001"/>
                  </a:lnTo>
                  <a:lnTo>
                    <a:pt x="1664" y="2006"/>
                  </a:lnTo>
                  <a:lnTo>
                    <a:pt x="1660" y="2011"/>
                  </a:lnTo>
                  <a:lnTo>
                    <a:pt x="1656" y="2016"/>
                  </a:lnTo>
                  <a:lnTo>
                    <a:pt x="1651" y="2020"/>
                  </a:lnTo>
                  <a:lnTo>
                    <a:pt x="1645" y="2023"/>
                  </a:lnTo>
                  <a:lnTo>
                    <a:pt x="1639" y="2026"/>
                  </a:lnTo>
                  <a:lnTo>
                    <a:pt x="1633" y="2027"/>
                  </a:lnTo>
                  <a:lnTo>
                    <a:pt x="1626" y="2028"/>
                  </a:lnTo>
                  <a:lnTo>
                    <a:pt x="1626" y="2028"/>
                  </a:lnTo>
                  <a:lnTo>
                    <a:pt x="1618" y="2027"/>
                  </a:lnTo>
                  <a:lnTo>
                    <a:pt x="1611" y="2024"/>
                  </a:lnTo>
                  <a:lnTo>
                    <a:pt x="1605" y="2022"/>
                  </a:lnTo>
                  <a:lnTo>
                    <a:pt x="1600" y="2017"/>
                  </a:lnTo>
                  <a:lnTo>
                    <a:pt x="1595" y="2012"/>
                  </a:lnTo>
                  <a:lnTo>
                    <a:pt x="1592" y="2006"/>
                  </a:lnTo>
                  <a:lnTo>
                    <a:pt x="1591" y="1999"/>
                  </a:lnTo>
                  <a:lnTo>
                    <a:pt x="1590" y="1990"/>
                  </a:lnTo>
                  <a:lnTo>
                    <a:pt x="1590" y="1990"/>
                  </a:lnTo>
                  <a:close/>
                  <a:moveTo>
                    <a:pt x="2200" y="2001"/>
                  </a:moveTo>
                  <a:lnTo>
                    <a:pt x="2200" y="2001"/>
                  </a:lnTo>
                  <a:lnTo>
                    <a:pt x="2193" y="2009"/>
                  </a:lnTo>
                  <a:lnTo>
                    <a:pt x="2183" y="2015"/>
                  </a:lnTo>
                  <a:lnTo>
                    <a:pt x="2178" y="2017"/>
                  </a:lnTo>
                  <a:lnTo>
                    <a:pt x="2172" y="2020"/>
                  </a:lnTo>
                  <a:lnTo>
                    <a:pt x="2166" y="2021"/>
                  </a:lnTo>
                  <a:lnTo>
                    <a:pt x="2160" y="2022"/>
                  </a:lnTo>
                  <a:lnTo>
                    <a:pt x="2160" y="2022"/>
                  </a:lnTo>
                  <a:lnTo>
                    <a:pt x="2154" y="2021"/>
                  </a:lnTo>
                  <a:lnTo>
                    <a:pt x="2148" y="2021"/>
                  </a:lnTo>
                  <a:lnTo>
                    <a:pt x="2141" y="2018"/>
                  </a:lnTo>
                  <a:lnTo>
                    <a:pt x="2132" y="2013"/>
                  </a:lnTo>
                  <a:lnTo>
                    <a:pt x="2125" y="2007"/>
                  </a:lnTo>
                  <a:lnTo>
                    <a:pt x="2122" y="2002"/>
                  </a:lnTo>
                  <a:lnTo>
                    <a:pt x="2119" y="1997"/>
                  </a:lnTo>
                  <a:lnTo>
                    <a:pt x="2117" y="1991"/>
                  </a:lnTo>
                  <a:lnTo>
                    <a:pt x="2115" y="1984"/>
                  </a:lnTo>
                  <a:lnTo>
                    <a:pt x="2114" y="1977"/>
                  </a:lnTo>
                  <a:lnTo>
                    <a:pt x="2113" y="1968"/>
                  </a:lnTo>
                  <a:lnTo>
                    <a:pt x="2241" y="1968"/>
                  </a:lnTo>
                  <a:lnTo>
                    <a:pt x="2241" y="1968"/>
                  </a:lnTo>
                  <a:lnTo>
                    <a:pt x="2242" y="1949"/>
                  </a:lnTo>
                  <a:lnTo>
                    <a:pt x="2242" y="1949"/>
                  </a:lnTo>
                  <a:lnTo>
                    <a:pt x="2242" y="1935"/>
                  </a:lnTo>
                  <a:lnTo>
                    <a:pt x="2240" y="1921"/>
                  </a:lnTo>
                  <a:lnTo>
                    <a:pt x="2239" y="1908"/>
                  </a:lnTo>
                  <a:lnTo>
                    <a:pt x="2236" y="1895"/>
                  </a:lnTo>
                  <a:lnTo>
                    <a:pt x="2232" y="1884"/>
                  </a:lnTo>
                  <a:lnTo>
                    <a:pt x="2228" y="1873"/>
                  </a:lnTo>
                  <a:lnTo>
                    <a:pt x="2223" y="1863"/>
                  </a:lnTo>
                  <a:lnTo>
                    <a:pt x="2218" y="1855"/>
                  </a:lnTo>
                  <a:lnTo>
                    <a:pt x="2212" y="1846"/>
                  </a:lnTo>
                  <a:lnTo>
                    <a:pt x="2205" y="1840"/>
                  </a:lnTo>
                  <a:lnTo>
                    <a:pt x="2198" y="1834"/>
                  </a:lnTo>
                  <a:lnTo>
                    <a:pt x="2190" y="1829"/>
                  </a:lnTo>
                  <a:lnTo>
                    <a:pt x="2181" y="1825"/>
                  </a:lnTo>
                  <a:lnTo>
                    <a:pt x="2173" y="1822"/>
                  </a:lnTo>
                  <a:lnTo>
                    <a:pt x="2164" y="1820"/>
                  </a:lnTo>
                  <a:lnTo>
                    <a:pt x="2153" y="1819"/>
                  </a:lnTo>
                  <a:lnTo>
                    <a:pt x="2153" y="1819"/>
                  </a:lnTo>
                  <a:lnTo>
                    <a:pt x="2144" y="1820"/>
                  </a:lnTo>
                  <a:lnTo>
                    <a:pt x="2135" y="1822"/>
                  </a:lnTo>
                  <a:lnTo>
                    <a:pt x="2125" y="1825"/>
                  </a:lnTo>
                  <a:lnTo>
                    <a:pt x="2116" y="1829"/>
                  </a:lnTo>
                  <a:lnTo>
                    <a:pt x="2108" y="1834"/>
                  </a:lnTo>
                  <a:lnTo>
                    <a:pt x="2100" y="1841"/>
                  </a:lnTo>
                  <a:lnTo>
                    <a:pt x="2093" y="1847"/>
                  </a:lnTo>
                  <a:lnTo>
                    <a:pt x="2087" y="1856"/>
                  </a:lnTo>
                  <a:lnTo>
                    <a:pt x="2080" y="1865"/>
                  </a:lnTo>
                  <a:lnTo>
                    <a:pt x="2075" y="1875"/>
                  </a:lnTo>
                  <a:lnTo>
                    <a:pt x="2071" y="1886"/>
                  </a:lnTo>
                  <a:lnTo>
                    <a:pt x="2067" y="1897"/>
                  </a:lnTo>
                  <a:lnTo>
                    <a:pt x="2064" y="1909"/>
                  </a:lnTo>
                  <a:lnTo>
                    <a:pt x="2062" y="1922"/>
                  </a:lnTo>
                  <a:lnTo>
                    <a:pt x="2061" y="1935"/>
                  </a:lnTo>
                  <a:lnTo>
                    <a:pt x="2060" y="1949"/>
                  </a:lnTo>
                  <a:lnTo>
                    <a:pt x="2060" y="1949"/>
                  </a:lnTo>
                  <a:lnTo>
                    <a:pt x="2061" y="1963"/>
                  </a:lnTo>
                  <a:lnTo>
                    <a:pt x="2062" y="1977"/>
                  </a:lnTo>
                  <a:lnTo>
                    <a:pt x="2064" y="1990"/>
                  </a:lnTo>
                  <a:lnTo>
                    <a:pt x="2067" y="2002"/>
                  </a:lnTo>
                  <a:lnTo>
                    <a:pt x="2071" y="2013"/>
                  </a:lnTo>
                  <a:lnTo>
                    <a:pt x="2075" y="2024"/>
                  </a:lnTo>
                  <a:lnTo>
                    <a:pt x="2080" y="2034"/>
                  </a:lnTo>
                  <a:lnTo>
                    <a:pt x="2087" y="2043"/>
                  </a:lnTo>
                  <a:lnTo>
                    <a:pt x="2094" y="2050"/>
                  </a:lnTo>
                  <a:lnTo>
                    <a:pt x="2101" y="2058"/>
                  </a:lnTo>
                  <a:lnTo>
                    <a:pt x="2110" y="2064"/>
                  </a:lnTo>
                  <a:lnTo>
                    <a:pt x="2118" y="2069"/>
                  </a:lnTo>
                  <a:lnTo>
                    <a:pt x="2127" y="2072"/>
                  </a:lnTo>
                  <a:lnTo>
                    <a:pt x="2138" y="2076"/>
                  </a:lnTo>
                  <a:lnTo>
                    <a:pt x="2148" y="2077"/>
                  </a:lnTo>
                  <a:lnTo>
                    <a:pt x="2160" y="2079"/>
                  </a:lnTo>
                  <a:lnTo>
                    <a:pt x="2160" y="2079"/>
                  </a:lnTo>
                  <a:lnTo>
                    <a:pt x="2170" y="2077"/>
                  </a:lnTo>
                  <a:lnTo>
                    <a:pt x="2179" y="2076"/>
                  </a:lnTo>
                  <a:lnTo>
                    <a:pt x="2190" y="2072"/>
                  </a:lnTo>
                  <a:lnTo>
                    <a:pt x="2199" y="2069"/>
                  </a:lnTo>
                  <a:lnTo>
                    <a:pt x="2208" y="2063"/>
                  </a:lnTo>
                  <a:lnTo>
                    <a:pt x="2217" y="2056"/>
                  </a:lnTo>
                  <a:lnTo>
                    <a:pt x="2225" y="2048"/>
                  </a:lnTo>
                  <a:lnTo>
                    <a:pt x="2233" y="2039"/>
                  </a:lnTo>
                  <a:lnTo>
                    <a:pt x="2200" y="2001"/>
                  </a:lnTo>
                  <a:close/>
                  <a:moveTo>
                    <a:pt x="2114" y="1922"/>
                  </a:moveTo>
                  <a:lnTo>
                    <a:pt x="2114" y="1922"/>
                  </a:lnTo>
                  <a:lnTo>
                    <a:pt x="2115" y="1911"/>
                  </a:lnTo>
                  <a:lnTo>
                    <a:pt x="2117" y="1902"/>
                  </a:lnTo>
                  <a:lnTo>
                    <a:pt x="2120" y="1893"/>
                  </a:lnTo>
                  <a:lnTo>
                    <a:pt x="2125" y="1886"/>
                  </a:lnTo>
                  <a:lnTo>
                    <a:pt x="2130" y="1879"/>
                  </a:lnTo>
                  <a:lnTo>
                    <a:pt x="2137" y="1876"/>
                  </a:lnTo>
                  <a:lnTo>
                    <a:pt x="2144" y="1872"/>
                  </a:lnTo>
                  <a:lnTo>
                    <a:pt x="2152" y="1872"/>
                  </a:lnTo>
                  <a:lnTo>
                    <a:pt x="2152" y="1872"/>
                  </a:lnTo>
                  <a:lnTo>
                    <a:pt x="2162" y="1873"/>
                  </a:lnTo>
                  <a:lnTo>
                    <a:pt x="2170" y="1876"/>
                  </a:lnTo>
                  <a:lnTo>
                    <a:pt x="2176" y="1881"/>
                  </a:lnTo>
                  <a:lnTo>
                    <a:pt x="2181" y="1888"/>
                  </a:lnTo>
                  <a:lnTo>
                    <a:pt x="2186" y="1895"/>
                  </a:lnTo>
                  <a:lnTo>
                    <a:pt x="2189" y="1904"/>
                  </a:lnTo>
                  <a:lnTo>
                    <a:pt x="2191" y="1914"/>
                  </a:lnTo>
                  <a:lnTo>
                    <a:pt x="2192" y="1922"/>
                  </a:lnTo>
                  <a:lnTo>
                    <a:pt x="2114" y="1922"/>
                  </a:lnTo>
                  <a:close/>
                  <a:moveTo>
                    <a:pt x="2701" y="2001"/>
                  </a:moveTo>
                  <a:lnTo>
                    <a:pt x="2701" y="2001"/>
                  </a:lnTo>
                  <a:lnTo>
                    <a:pt x="2692" y="2009"/>
                  </a:lnTo>
                  <a:lnTo>
                    <a:pt x="2684" y="2015"/>
                  </a:lnTo>
                  <a:lnTo>
                    <a:pt x="2678" y="2017"/>
                  </a:lnTo>
                  <a:lnTo>
                    <a:pt x="2673" y="2020"/>
                  </a:lnTo>
                  <a:lnTo>
                    <a:pt x="2666" y="2021"/>
                  </a:lnTo>
                  <a:lnTo>
                    <a:pt x="2659" y="2022"/>
                  </a:lnTo>
                  <a:lnTo>
                    <a:pt x="2659" y="2022"/>
                  </a:lnTo>
                  <a:lnTo>
                    <a:pt x="2654" y="2021"/>
                  </a:lnTo>
                  <a:lnTo>
                    <a:pt x="2648" y="2021"/>
                  </a:lnTo>
                  <a:lnTo>
                    <a:pt x="2640" y="2018"/>
                  </a:lnTo>
                  <a:lnTo>
                    <a:pt x="2633" y="2013"/>
                  </a:lnTo>
                  <a:lnTo>
                    <a:pt x="2626" y="2007"/>
                  </a:lnTo>
                  <a:lnTo>
                    <a:pt x="2623" y="2002"/>
                  </a:lnTo>
                  <a:lnTo>
                    <a:pt x="2620" y="1997"/>
                  </a:lnTo>
                  <a:lnTo>
                    <a:pt x="2617" y="1991"/>
                  </a:lnTo>
                  <a:lnTo>
                    <a:pt x="2615" y="1984"/>
                  </a:lnTo>
                  <a:lnTo>
                    <a:pt x="2613" y="1977"/>
                  </a:lnTo>
                  <a:lnTo>
                    <a:pt x="2612" y="1968"/>
                  </a:lnTo>
                  <a:lnTo>
                    <a:pt x="2741" y="1968"/>
                  </a:lnTo>
                  <a:lnTo>
                    <a:pt x="2741" y="1968"/>
                  </a:lnTo>
                  <a:lnTo>
                    <a:pt x="2742" y="1949"/>
                  </a:lnTo>
                  <a:lnTo>
                    <a:pt x="2742" y="1949"/>
                  </a:lnTo>
                  <a:lnTo>
                    <a:pt x="2741" y="1935"/>
                  </a:lnTo>
                  <a:lnTo>
                    <a:pt x="2740" y="1921"/>
                  </a:lnTo>
                  <a:lnTo>
                    <a:pt x="2738" y="1908"/>
                  </a:lnTo>
                  <a:lnTo>
                    <a:pt x="2736" y="1895"/>
                  </a:lnTo>
                  <a:lnTo>
                    <a:pt x="2732" y="1884"/>
                  </a:lnTo>
                  <a:lnTo>
                    <a:pt x="2728" y="1873"/>
                  </a:lnTo>
                  <a:lnTo>
                    <a:pt x="2724" y="1863"/>
                  </a:lnTo>
                  <a:lnTo>
                    <a:pt x="2718" y="1855"/>
                  </a:lnTo>
                  <a:lnTo>
                    <a:pt x="2712" y="1846"/>
                  </a:lnTo>
                  <a:lnTo>
                    <a:pt x="2705" y="1840"/>
                  </a:lnTo>
                  <a:lnTo>
                    <a:pt x="2698" y="1834"/>
                  </a:lnTo>
                  <a:lnTo>
                    <a:pt x="2690" y="1829"/>
                  </a:lnTo>
                  <a:lnTo>
                    <a:pt x="2682" y="1825"/>
                  </a:lnTo>
                  <a:lnTo>
                    <a:pt x="2673" y="1822"/>
                  </a:lnTo>
                  <a:lnTo>
                    <a:pt x="2663" y="1820"/>
                  </a:lnTo>
                  <a:lnTo>
                    <a:pt x="2654" y="1819"/>
                  </a:lnTo>
                  <a:lnTo>
                    <a:pt x="2654" y="1819"/>
                  </a:lnTo>
                  <a:lnTo>
                    <a:pt x="2643" y="1820"/>
                  </a:lnTo>
                  <a:lnTo>
                    <a:pt x="2634" y="1822"/>
                  </a:lnTo>
                  <a:lnTo>
                    <a:pt x="2625" y="1825"/>
                  </a:lnTo>
                  <a:lnTo>
                    <a:pt x="2616" y="1829"/>
                  </a:lnTo>
                  <a:lnTo>
                    <a:pt x="2608" y="1834"/>
                  </a:lnTo>
                  <a:lnTo>
                    <a:pt x="2600" y="1841"/>
                  </a:lnTo>
                  <a:lnTo>
                    <a:pt x="2594" y="1847"/>
                  </a:lnTo>
                  <a:lnTo>
                    <a:pt x="2586" y="1856"/>
                  </a:lnTo>
                  <a:lnTo>
                    <a:pt x="2580" y="1865"/>
                  </a:lnTo>
                  <a:lnTo>
                    <a:pt x="2575" y="1875"/>
                  </a:lnTo>
                  <a:lnTo>
                    <a:pt x="2571" y="1886"/>
                  </a:lnTo>
                  <a:lnTo>
                    <a:pt x="2566" y="1897"/>
                  </a:lnTo>
                  <a:lnTo>
                    <a:pt x="2564" y="1909"/>
                  </a:lnTo>
                  <a:lnTo>
                    <a:pt x="2561" y="1922"/>
                  </a:lnTo>
                  <a:lnTo>
                    <a:pt x="2560" y="1935"/>
                  </a:lnTo>
                  <a:lnTo>
                    <a:pt x="2560" y="1949"/>
                  </a:lnTo>
                  <a:lnTo>
                    <a:pt x="2560" y="1949"/>
                  </a:lnTo>
                  <a:lnTo>
                    <a:pt x="2560" y="1963"/>
                  </a:lnTo>
                  <a:lnTo>
                    <a:pt x="2561" y="1977"/>
                  </a:lnTo>
                  <a:lnTo>
                    <a:pt x="2563" y="1990"/>
                  </a:lnTo>
                  <a:lnTo>
                    <a:pt x="2566" y="2002"/>
                  </a:lnTo>
                  <a:lnTo>
                    <a:pt x="2571" y="2013"/>
                  </a:lnTo>
                  <a:lnTo>
                    <a:pt x="2576" y="2024"/>
                  </a:lnTo>
                  <a:lnTo>
                    <a:pt x="2581" y="2034"/>
                  </a:lnTo>
                  <a:lnTo>
                    <a:pt x="2587" y="2043"/>
                  </a:lnTo>
                  <a:lnTo>
                    <a:pt x="2594" y="2050"/>
                  </a:lnTo>
                  <a:lnTo>
                    <a:pt x="2601" y="2058"/>
                  </a:lnTo>
                  <a:lnTo>
                    <a:pt x="2609" y="2064"/>
                  </a:lnTo>
                  <a:lnTo>
                    <a:pt x="2619" y="2069"/>
                  </a:lnTo>
                  <a:lnTo>
                    <a:pt x="2628" y="2072"/>
                  </a:lnTo>
                  <a:lnTo>
                    <a:pt x="2637" y="2076"/>
                  </a:lnTo>
                  <a:lnTo>
                    <a:pt x="2649" y="2077"/>
                  </a:lnTo>
                  <a:lnTo>
                    <a:pt x="2659" y="2079"/>
                  </a:lnTo>
                  <a:lnTo>
                    <a:pt x="2659" y="2079"/>
                  </a:lnTo>
                  <a:lnTo>
                    <a:pt x="2670" y="2077"/>
                  </a:lnTo>
                  <a:lnTo>
                    <a:pt x="2680" y="2076"/>
                  </a:lnTo>
                  <a:lnTo>
                    <a:pt x="2689" y="2072"/>
                  </a:lnTo>
                  <a:lnTo>
                    <a:pt x="2699" y="2069"/>
                  </a:lnTo>
                  <a:lnTo>
                    <a:pt x="2708" y="2063"/>
                  </a:lnTo>
                  <a:lnTo>
                    <a:pt x="2717" y="2056"/>
                  </a:lnTo>
                  <a:lnTo>
                    <a:pt x="2726" y="2048"/>
                  </a:lnTo>
                  <a:lnTo>
                    <a:pt x="2733" y="2039"/>
                  </a:lnTo>
                  <a:lnTo>
                    <a:pt x="2701" y="2001"/>
                  </a:lnTo>
                  <a:close/>
                  <a:moveTo>
                    <a:pt x="2613" y="1922"/>
                  </a:moveTo>
                  <a:lnTo>
                    <a:pt x="2613" y="1922"/>
                  </a:lnTo>
                  <a:lnTo>
                    <a:pt x="2614" y="1911"/>
                  </a:lnTo>
                  <a:lnTo>
                    <a:pt x="2617" y="1902"/>
                  </a:lnTo>
                  <a:lnTo>
                    <a:pt x="2621" y="1893"/>
                  </a:lnTo>
                  <a:lnTo>
                    <a:pt x="2625" y="1886"/>
                  </a:lnTo>
                  <a:lnTo>
                    <a:pt x="2631" y="1879"/>
                  </a:lnTo>
                  <a:lnTo>
                    <a:pt x="2637" y="1876"/>
                  </a:lnTo>
                  <a:lnTo>
                    <a:pt x="2645" y="1872"/>
                  </a:lnTo>
                  <a:lnTo>
                    <a:pt x="2653" y="1872"/>
                  </a:lnTo>
                  <a:lnTo>
                    <a:pt x="2653" y="1872"/>
                  </a:lnTo>
                  <a:lnTo>
                    <a:pt x="2662" y="1873"/>
                  </a:lnTo>
                  <a:lnTo>
                    <a:pt x="2670" y="1876"/>
                  </a:lnTo>
                  <a:lnTo>
                    <a:pt x="2677" y="1881"/>
                  </a:lnTo>
                  <a:lnTo>
                    <a:pt x="2682" y="1888"/>
                  </a:lnTo>
                  <a:lnTo>
                    <a:pt x="2686" y="1895"/>
                  </a:lnTo>
                  <a:lnTo>
                    <a:pt x="2689" y="1904"/>
                  </a:lnTo>
                  <a:lnTo>
                    <a:pt x="2691" y="1914"/>
                  </a:lnTo>
                  <a:lnTo>
                    <a:pt x="2692" y="1922"/>
                  </a:lnTo>
                  <a:lnTo>
                    <a:pt x="2613" y="1922"/>
                  </a:lnTo>
                  <a:close/>
                  <a:moveTo>
                    <a:pt x="2488" y="1986"/>
                  </a:moveTo>
                  <a:lnTo>
                    <a:pt x="2488" y="1986"/>
                  </a:lnTo>
                  <a:lnTo>
                    <a:pt x="2488" y="1995"/>
                  </a:lnTo>
                  <a:lnTo>
                    <a:pt x="2489" y="2001"/>
                  </a:lnTo>
                  <a:lnTo>
                    <a:pt x="2492" y="2007"/>
                  </a:lnTo>
                  <a:lnTo>
                    <a:pt x="2494" y="2012"/>
                  </a:lnTo>
                  <a:lnTo>
                    <a:pt x="2497" y="2016"/>
                  </a:lnTo>
                  <a:lnTo>
                    <a:pt x="2501" y="2018"/>
                  </a:lnTo>
                  <a:lnTo>
                    <a:pt x="2505" y="2020"/>
                  </a:lnTo>
                  <a:lnTo>
                    <a:pt x="2511" y="2020"/>
                  </a:lnTo>
                  <a:lnTo>
                    <a:pt x="2511" y="2020"/>
                  </a:lnTo>
                  <a:lnTo>
                    <a:pt x="2519" y="2020"/>
                  </a:lnTo>
                  <a:lnTo>
                    <a:pt x="2527" y="2017"/>
                  </a:lnTo>
                  <a:lnTo>
                    <a:pt x="2535" y="2013"/>
                  </a:lnTo>
                  <a:lnTo>
                    <a:pt x="2543" y="2009"/>
                  </a:lnTo>
                  <a:lnTo>
                    <a:pt x="2536" y="2066"/>
                  </a:lnTo>
                  <a:lnTo>
                    <a:pt x="2536" y="2066"/>
                  </a:lnTo>
                  <a:lnTo>
                    <a:pt x="2527" y="2071"/>
                  </a:lnTo>
                  <a:lnTo>
                    <a:pt x="2515" y="2075"/>
                  </a:lnTo>
                  <a:lnTo>
                    <a:pt x="2504" y="2077"/>
                  </a:lnTo>
                  <a:lnTo>
                    <a:pt x="2493" y="2079"/>
                  </a:lnTo>
                  <a:lnTo>
                    <a:pt x="2493" y="2079"/>
                  </a:lnTo>
                  <a:lnTo>
                    <a:pt x="2485" y="2077"/>
                  </a:lnTo>
                  <a:lnTo>
                    <a:pt x="2478" y="2076"/>
                  </a:lnTo>
                  <a:lnTo>
                    <a:pt x="2472" y="2074"/>
                  </a:lnTo>
                  <a:lnTo>
                    <a:pt x="2467" y="2071"/>
                  </a:lnTo>
                  <a:lnTo>
                    <a:pt x="2461" y="2068"/>
                  </a:lnTo>
                  <a:lnTo>
                    <a:pt x="2456" y="2064"/>
                  </a:lnTo>
                  <a:lnTo>
                    <a:pt x="2453" y="2059"/>
                  </a:lnTo>
                  <a:lnTo>
                    <a:pt x="2449" y="2053"/>
                  </a:lnTo>
                  <a:lnTo>
                    <a:pt x="2444" y="2042"/>
                  </a:lnTo>
                  <a:lnTo>
                    <a:pt x="2440" y="2028"/>
                  </a:lnTo>
                  <a:lnTo>
                    <a:pt x="2437" y="2016"/>
                  </a:lnTo>
                  <a:lnTo>
                    <a:pt x="2436" y="2002"/>
                  </a:lnTo>
                  <a:lnTo>
                    <a:pt x="2436" y="1882"/>
                  </a:lnTo>
                  <a:lnTo>
                    <a:pt x="2404" y="1882"/>
                  </a:lnTo>
                  <a:lnTo>
                    <a:pt x="2404" y="1825"/>
                  </a:lnTo>
                  <a:lnTo>
                    <a:pt x="2436" y="1825"/>
                  </a:lnTo>
                  <a:lnTo>
                    <a:pt x="2436" y="1761"/>
                  </a:lnTo>
                  <a:lnTo>
                    <a:pt x="2488" y="1731"/>
                  </a:lnTo>
                  <a:lnTo>
                    <a:pt x="2488" y="1825"/>
                  </a:lnTo>
                  <a:lnTo>
                    <a:pt x="2535" y="1825"/>
                  </a:lnTo>
                  <a:lnTo>
                    <a:pt x="2535" y="1882"/>
                  </a:lnTo>
                  <a:lnTo>
                    <a:pt x="2488" y="1882"/>
                  </a:lnTo>
                  <a:lnTo>
                    <a:pt x="2488" y="1986"/>
                  </a:lnTo>
                  <a:close/>
                  <a:moveTo>
                    <a:pt x="2387" y="2066"/>
                  </a:moveTo>
                  <a:lnTo>
                    <a:pt x="2387" y="2066"/>
                  </a:lnTo>
                  <a:lnTo>
                    <a:pt x="2378" y="2071"/>
                  </a:lnTo>
                  <a:lnTo>
                    <a:pt x="2368" y="2075"/>
                  </a:lnTo>
                  <a:lnTo>
                    <a:pt x="2356" y="2077"/>
                  </a:lnTo>
                  <a:lnTo>
                    <a:pt x="2345" y="2079"/>
                  </a:lnTo>
                  <a:lnTo>
                    <a:pt x="2345" y="2079"/>
                  </a:lnTo>
                  <a:lnTo>
                    <a:pt x="2336" y="2077"/>
                  </a:lnTo>
                  <a:lnTo>
                    <a:pt x="2330" y="2076"/>
                  </a:lnTo>
                  <a:lnTo>
                    <a:pt x="2324" y="2074"/>
                  </a:lnTo>
                  <a:lnTo>
                    <a:pt x="2318" y="2071"/>
                  </a:lnTo>
                  <a:lnTo>
                    <a:pt x="2314" y="2068"/>
                  </a:lnTo>
                  <a:lnTo>
                    <a:pt x="2308" y="2064"/>
                  </a:lnTo>
                  <a:lnTo>
                    <a:pt x="2304" y="2059"/>
                  </a:lnTo>
                  <a:lnTo>
                    <a:pt x="2301" y="2053"/>
                  </a:lnTo>
                  <a:lnTo>
                    <a:pt x="2295" y="2042"/>
                  </a:lnTo>
                  <a:lnTo>
                    <a:pt x="2292" y="2028"/>
                  </a:lnTo>
                  <a:lnTo>
                    <a:pt x="2289" y="2016"/>
                  </a:lnTo>
                  <a:lnTo>
                    <a:pt x="2289" y="2002"/>
                  </a:lnTo>
                  <a:lnTo>
                    <a:pt x="2289" y="1882"/>
                  </a:lnTo>
                  <a:lnTo>
                    <a:pt x="2256" y="1882"/>
                  </a:lnTo>
                  <a:lnTo>
                    <a:pt x="2256" y="1825"/>
                  </a:lnTo>
                  <a:lnTo>
                    <a:pt x="2289" y="1825"/>
                  </a:lnTo>
                  <a:lnTo>
                    <a:pt x="2289" y="1761"/>
                  </a:lnTo>
                  <a:lnTo>
                    <a:pt x="2341" y="1731"/>
                  </a:lnTo>
                  <a:lnTo>
                    <a:pt x="2341" y="1825"/>
                  </a:lnTo>
                  <a:lnTo>
                    <a:pt x="2384" y="1825"/>
                  </a:lnTo>
                  <a:lnTo>
                    <a:pt x="2384" y="1882"/>
                  </a:lnTo>
                  <a:lnTo>
                    <a:pt x="2341" y="1882"/>
                  </a:lnTo>
                  <a:lnTo>
                    <a:pt x="2341" y="1986"/>
                  </a:lnTo>
                  <a:lnTo>
                    <a:pt x="2341" y="1986"/>
                  </a:lnTo>
                  <a:lnTo>
                    <a:pt x="2341" y="1995"/>
                  </a:lnTo>
                  <a:lnTo>
                    <a:pt x="2342" y="2001"/>
                  </a:lnTo>
                  <a:lnTo>
                    <a:pt x="2344" y="2007"/>
                  </a:lnTo>
                  <a:lnTo>
                    <a:pt x="2346" y="2012"/>
                  </a:lnTo>
                  <a:lnTo>
                    <a:pt x="2349" y="2016"/>
                  </a:lnTo>
                  <a:lnTo>
                    <a:pt x="2353" y="2018"/>
                  </a:lnTo>
                  <a:lnTo>
                    <a:pt x="2357" y="2020"/>
                  </a:lnTo>
                  <a:lnTo>
                    <a:pt x="2362" y="2020"/>
                  </a:lnTo>
                  <a:lnTo>
                    <a:pt x="2362" y="2020"/>
                  </a:lnTo>
                  <a:lnTo>
                    <a:pt x="2371" y="2020"/>
                  </a:lnTo>
                  <a:lnTo>
                    <a:pt x="2379" y="2017"/>
                  </a:lnTo>
                  <a:lnTo>
                    <a:pt x="2386" y="2013"/>
                  </a:lnTo>
                  <a:lnTo>
                    <a:pt x="2394" y="2009"/>
                  </a:lnTo>
                  <a:lnTo>
                    <a:pt x="2387" y="2066"/>
                  </a:lnTo>
                  <a:close/>
                  <a:moveTo>
                    <a:pt x="2898" y="1894"/>
                  </a:moveTo>
                  <a:lnTo>
                    <a:pt x="2898" y="1894"/>
                  </a:lnTo>
                  <a:lnTo>
                    <a:pt x="2891" y="1888"/>
                  </a:lnTo>
                  <a:lnTo>
                    <a:pt x="2883" y="1884"/>
                  </a:lnTo>
                  <a:lnTo>
                    <a:pt x="2873" y="1882"/>
                  </a:lnTo>
                  <a:lnTo>
                    <a:pt x="2864" y="1881"/>
                  </a:lnTo>
                  <a:lnTo>
                    <a:pt x="2864" y="1881"/>
                  </a:lnTo>
                  <a:lnTo>
                    <a:pt x="2856" y="1882"/>
                  </a:lnTo>
                  <a:lnTo>
                    <a:pt x="2847" y="1884"/>
                  </a:lnTo>
                  <a:lnTo>
                    <a:pt x="2841" y="1889"/>
                  </a:lnTo>
                  <a:lnTo>
                    <a:pt x="2836" y="1895"/>
                  </a:lnTo>
                  <a:lnTo>
                    <a:pt x="2832" y="1903"/>
                  </a:lnTo>
                  <a:lnTo>
                    <a:pt x="2830" y="1913"/>
                  </a:lnTo>
                  <a:lnTo>
                    <a:pt x="2828" y="1925"/>
                  </a:lnTo>
                  <a:lnTo>
                    <a:pt x="2827" y="1938"/>
                  </a:lnTo>
                  <a:lnTo>
                    <a:pt x="2827" y="2072"/>
                  </a:lnTo>
                  <a:lnTo>
                    <a:pt x="2776" y="2072"/>
                  </a:lnTo>
                  <a:lnTo>
                    <a:pt x="2776" y="1825"/>
                  </a:lnTo>
                  <a:lnTo>
                    <a:pt x="2827" y="1825"/>
                  </a:lnTo>
                  <a:lnTo>
                    <a:pt x="2827" y="1846"/>
                  </a:lnTo>
                  <a:lnTo>
                    <a:pt x="2827" y="1846"/>
                  </a:lnTo>
                  <a:lnTo>
                    <a:pt x="2832" y="1840"/>
                  </a:lnTo>
                  <a:lnTo>
                    <a:pt x="2837" y="1834"/>
                  </a:lnTo>
                  <a:lnTo>
                    <a:pt x="2842" y="1830"/>
                  </a:lnTo>
                  <a:lnTo>
                    <a:pt x="2849" y="1827"/>
                  </a:lnTo>
                  <a:lnTo>
                    <a:pt x="2854" y="1823"/>
                  </a:lnTo>
                  <a:lnTo>
                    <a:pt x="2860" y="1822"/>
                  </a:lnTo>
                  <a:lnTo>
                    <a:pt x="2866" y="1820"/>
                  </a:lnTo>
                  <a:lnTo>
                    <a:pt x="2873" y="1819"/>
                  </a:lnTo>
                  <a:lnTo>
                    <a:pt x="2873" y="1819"/>
                  </a:lnTo>
                  <a:lnTo>
                    <a:pt x="2884" y="1820"/>
                  </a:lnTo>
                  <a:lnTo>
                    <a:pt x="2894" y="1824"/>
                  </a:lnTo>
                  <a:lnTo>
                    <a:pt x="2904" y="1828"/>
                  </a:lnTo>
                  <a:lnTo>
                    <a:pt x="2912" y="1834"/>
                  </a:lnTo>
                  <a:lnTo>
                    <a:pt x="2898" y="1894"/>
                  </a:lnTo>
                  <a:close/>
                  <a:moveTo>
                    <a:pt x="559" y="1766"/>
                  </a:moveTo>
                  <a:lnTo>
                    <a:pt x="559" y="1790"/>
                  </a:lnTo>
                  <a:lnTo>
                    <a:pt x="507" y="1790"/>
                  </a:lnTo>
                  <a:lnTo>
                    <a:pt x="507" y="1728"/>
                  </a:lnTo>
                  <a:lnTo>
                    <a:pt x="559" y="1728"/>
                  </a:lnTo>
                  <a:lnTo>
                    <a:pt x="559" y="1766"/>
                  </a:lnTo>
                  <a:close/>
                  <a:moveTo>
                    <a:pt x="919" y="1825"/>
                  </a:moveTo>
                  <a:lnTo>
                    <a:pt x="971" y="1825"/>
                  </a:lnTo>
                  <a:lnTo>
                    <a:pt x="971" y="1952"/>
                  </a:lnTo>
                  <a:lnTo>
                    <a:pt x="971" y="2072"/>
                  </a:lnTo>
                  <a:lnTo>
                    <a:pt x="919" y="2072"/>
                  </a:lnTo>
                  <a:lnTo>
                    <a:pt x="919" y="1825"/>
                  </a:lnTo>
                  <a:close/>
                  <a:moveTo>
                    <a:pt x="971" y="1759"/>
                  </a:moveTo>
                  <a:lnTo>
                    <a:pt x="971" y="1790"/>
                  </a:lnTo>
                  <a:lnTo>
                    <a:pt x="919" y="1790"/>
                  </a:lnTo>
                  <a:lnTo>
                    <a:pt x="919" y="1728"/>
                  </a:lnTo>
                  <a:lnTo>
                    <a:pt x="971" y="1728"/>
                  </a:lnTo>
                  <a:lnTo>
                    <a:pt x="971" y="1759"/>
                  </a:lnTo>
                  <a:close/>
                  <a:moveTo>
                    <a:pt x="2395" y="2275"/>
                  </a:moveTo>
                  <a:lnTo>
                    <a:pt x="2395" y="2275"/>
                  </a:lnTo>
                  <a:lnTo>
                    <a:pt x="2390" y="2270"/>
                  </a:lnTo>
                  <a:lnTo>
                    <a:pt x="2384" y="2265"/>
                  </a:lnTo>
                  <a:lnTo>
                    <a:pt x="2379" y="2262"/>
                  </a:lnTo>
                  <a:lnTo>
                    <a:pt x="2373" y="2258"/>
                  </a:lnTo>
                  <a:lnTo>
                    <a:pt x="2368" y="2256"/>
                  </a:lnTo>
                  <a:lnTo>
                    <a:pt x="2361" y="2254"/>
                  </a:lnTo>
                  <a:lnTo>
                    <a:pt x="2348" y="2252"/>
                  </a:lnTo>
                  <a:lnTo>
                    <a:pt x="2348" y="2252"/>
                  </a:lnTo>
                  <a:lnTo>
                    <a:pt x="2339" y="2253"/>
                  </a:lnTo>
                  <a:lnTo>
                    <a:pt x="2330" y="2254"/>
                  </a:lnTo>
                  <a:lnTo>
                    <a:pt x="2322" y="2258"/>
                  </a:lnTo>
                  <a:lnTo>
                    <a:pt x="2314" y="2262"/>
                  </a:lnTo>
                  <a:lnTo>
                    <a:pt x="2306" y="2267"/>
                  </a:lnTo>
                  <a:lnTo>
                    <a:pt x="2300" y="2272"/>
                  </a:lnTo>
                  <a:lnTo>
                    <a:pt x="2294" y="2279"/>
                  </a:lnTo>
                  <a:lnTo>
                    <a:pt x="2288" y="2286"/>
                  </a:lnTo>
                  <a:lnTo>
                    <a:pt x="2283" y="2295"/>
                  </a:lnTo>
                  <a:lnTo>
                    <a:pt x="2278" y="2305"/>
                  </a:lnTo>
                  <a:lnTo>
                    <a:pt x="2275" y="2315"/>
                  </a:lnTo>
                  <a:lnTo>
                    <a:pt x="2272" y="2327"/>
                  </a:lnTo>
                  <a:lnTo>
                    <a:pt x="2269" y="2338"/>
                  </a:lnTo>
                  <a:lnTo>
                    <a:pt x="2268" y="2352"/>
                  </a:lnTo>
                  <a:lnTo>
                    <a:pt x="2267" y="2365"/>
                  </a:lnTo>
                  <a:lnTo>
                    <a:pt x="2266" y="2380"/>
                  </a:lnTo>
                  <a:lnTo>
                    <a:pt x="2266" y="2380"/>
                  </a:lnTo>
                  <a:lnTo>
                    <a:pt x="2267" y="2395"/>
                  </a:lnTo>
                  <a:lnTo>
                    <a:pt x="2268" y="2408"/>
                  </a:lnTo>
                  <a:lnTo>
                    <a:pt x="2269" y="2422"/>
                  </a:lnTo>
                  <a:lnTo>
                    <a:pt x="2272" y="2435"/>
                  </a:lnTo>
                  <a:lnTo>
                    <a:pt x="2274" y="2446"/>
                  </a:lnTo>
                  <a:lnTo>
                    <a:pt x="2278" y="2457"/>
                  </a:lnTo>
                  <a:lnTo>
                    <a:pt x="2282" y="2467"/>
                  </a:lnTo>
                  <a:lnTo>
                    <a:pt x="2288" y="2476"/>
                  </a:lnTo>
                  <a:lnTo>
                    <a:pt x="2293" y="2484"/>
                  </a:lnTo>
                  <a:lnTo>
                    <a:pt x="2299" y="2490"/>
                  </a:lnTo>
                  <a:lnTo>
                    <a:pt x="2305" y="2497"/>
                  </a:lnTo>
                  <a:lnTo>
                    <a:pt x="2313" y="2502"/>
                  </a:lnTo>
                  <a:lnTo>
                    <a:pt x="2321" y="2506"/>
                  </a:lnTo>
                  <a:lnTo>
                    <a:pt x="2329" y="2509"/>
                  </a:lnTo>
                  <a:lnTo>
                    <a:pt x="2338" y="2510"/>
                  </a:lnTo>
                  <a:lnTo>
                    <a:pt x="2347" y="2511"/>
                  </a:lnTo>
                  <a:lnTo>
                    <a:pt x="2347" y="2511"/>
                  </a:lnTo>
                  <a:lnTo>
                    <a:pt x="2353" y="2510"/>
                  </a:lnTo>
                  <a:lnTo>
                    <a:pt x="2360" y="2509"/>
                  </a:lnTo>
                  <a:lnTo>
                    <a:pt x="2367" y="2508"/>
                  </a:lnTo>
                  <a:lnTo>
                    <a:pt x="2372" y="2505"/>
                  </a:lnTo>
                  <a:lnTo>
                    <a:pt x="2378" y="2502"/>
                  </a:lnTo>
                  <a:lnTo>
                    <a:pt x="2384" y="2498"/>
                  </a:lnTo>
                  <a:lnTo>
                    <a:pt x="2390" y="2493"/>
                  </a:lnTo>
                  <a:lnTo>
                    <a:pt x="2395" y="2487"/>
                  </a:lnTo>
                  <a:lnTo>
                    <a:pt x="2395" y="2505"/>
                  </a:lnTo>
                  <a:lnTo>
                    <a:pt x="2447" y="2505"/>
                  </a:lnTo>
                  <a:lnTo>
                    <a:pt x="2447" y="2155"/>
                  </a:lnTo>
                  <a:lnTo>
                    <a:pt x="2395" y="2186"/>
                  </a:lnTo>
                  <a:lnTo>
                    <a:pt x="2395" y="2275"/>
                  </a:lnTo>
                  <a:close/>
                  <a:moveTo>
                    <a:pt x="2358" y="2455"/>
                  </a:moveTo>
                  <a:lnTo>
                    <a:pt x="2358" y="2455"/>
                  </a:lnTo>
                  <a:lnTo>
                    <a:pt x="2351" y="2454"/>
                  </a:lnTo>
                  <a:lnTo>
                    <a:pt x="2345" y="2451"/>
                  </a:lnTo>
                  <a:lnTo>
                    <a:pt x="2338" y="2447"/>
                  </a:lnTo>
                  <a:lnTo>
                    <a:pt x="2331" y="2440"/>
                  </a:lnTo>
                  <a:lnTo>
                    <a:pt x="2326" y="2430"/>
                  </a:lnTo>
                  <a:lnTo>
                    <a:pt x="2322" y="2417"/>
                  </a:lnTo>
                  <a:lnTo>
                    <a:pt x="2320" y="2399"/>
                  </a:lnTo>
                  <a:lnTo>
                    <a:pt x="2319" y="2377"/>
                  </a:lnTo>
                  <a:lnTo>
                    <a:pt x="2319" y="2377"/>
                  </a:lnTo>
                  <a:lnTo>
                    <a:pt x="2320" y="2359"/>
                  </a:lnTo>
                  <a:lnTo>
                    <a:pt x="2322" y="2343"/>
                  </a:lnTo>
                  <a:lnTo>
                    <a:pt x="2326" y="2331"/>
                  </a:lnTo>
                  <a:lnTo>
                    <a:pt x="2331" y="2322"/>
                  </a:lnTo>
                  <a:lnTo>
                    <a:pt x="2338" y="2316"/>
                  </a:lnTo>
                  <a:lnTo>
                    <a:pt x="2344" y="2311"/>
                  </a:lnTo>
                  <a:lnTo>
                    <a:pt x="2351" y="2310"/>
                  </a:lnTo>
                  <a:lnTo>
                    <a:pt x="2357" y="2308"/>
                  </a:lnTo>
                  <a:lnTo>
                    <a:pt x="2357" y="2308"/>
                  </a:lnTo>
                  <a:lnTo>
                    <a:pt x="2365" y="2310"/>
                  </a:lnTo>
                  <a:lnTo>
                    <a:pt x="2371" y="2311"/>
                  </a:lnTo>
                  <a:lnTo>
                    <a:pt x="2376" y="2313"/>
                  </a:lnTo>
                  <a:lnTo>
                    <a:pt x="2381" y="2317"/>
                  </a:lnTo>
                  <a:lnTo>
                    <a:pt x="2385" y="2321"/>
                  </a:lnTo>
                  <a:lnTo>
                    <a:pt x="2390" y="2324"/>
                  </a:lnTo>
                  <a:lnTo>
                    <a:pt x="2395" y="2333"/>
                  </a:lnTo>
                  <a:lnTo>
                    <a:pt x="2395" y="2430"/>
                  </a:lnTo>
                  <a:lnTo>
                    <a:pt x="2395" y="2430"/>
                  </a:lnTo>
                  <a:lnTo>
                    <a:pt x="2389" y="2439"/>
                  </a:lnTo>
                  <a:lnTo>
                    <a:pt x="2381" y="2446"/>
                  </a:lnTo>
                  <a:lnTo>
                    <a:pt x="2376" y="2450"/>
                  </a:lnTo>
                  <a:lnTo>
                    <a:pt x="2371" y="2452"/>
                  </a:lnTo>
                  <a:lnTo>
                    <a:pt x="2365" y="2454"/>
                  </a:lnTo>
                  <a:lnTo>
                    <a:pt x="2358" y="2455"/>
                  </a:lnTo>
                  <a:lnTo>
                    <a:pt x="2358" y="2455"/>
                  </a:lnTo>
                  <a:close/>
                  <a:moveTo>
                    <a:pt x="634" y="2327"/>
                  </a:moveTo>
                  <a:lnTo>
                    <a:pt x="634" y="2327"/>
                  </a:lnTo>
                  <a:lnTo>
                    <a:pt x="627" y="2322"/>
                  </a:lnTo>
                  <a:lnTo>
                    <a:pt x="618" y="2317"/>
                  </a:lnTo>
                  <a:lnTo>
                    <a:pt x="609" y="2315"/>
                  </a:lnTo>
                  <a:lnTo>
                    <a:pt x="599" y="2313"/>
                  </a:lnTo>
                  <a:lnTo>
                    <a:pt x="599" y="2313"/>
                  </a:lnTo>
                  <a:lnTo>
                    <a:pt x="591" y="2315"/>
                  </a:lnTo>
                  <a:lnTo>
                    <a:pt x="583" y="2317"/>
                  </a:lnTo>
                  <a:lnTo>
                    <a:pt x="577" y="2322"/>
                  </a:lnTo>
                  <a:lnTo>
                    <a:pt x="571" y="2328"/>
                  </a:lnTo>
                  <a:lnTo>
                    <a:pt x="567" y="2336"/>
                  </a:lnTo>
                  <a:lnTo>
                    <a:pt x="565" y="2345"/>
                  </a:lnTo>
                  <a:lnTo>
                    <a:pt x="563" y="2358"/>
                  </a:lnTo>
                  <a:lnTo>
                    <a:pt x="562" y="2371"/>
                  </a:lnTo>
                  <a:lnTo>
                    <a:pt x="562" y="2505"/>
                  </a:lnTo>
                  <a:lnTo>
                    <a:pt x="511" y="2505"/>
                  </a:lnTo>
                  <a:lnTo>
                    <a:pt x="511" y="2258"/>
                  </a:lnTo>
                  <a:lnTo>
                    <a:pt x="562" y="2258"/>
                  </a:lnTo>
                  <a:lnTo>
                    <a:pt x="562" y="2279"/>
                  </a:lnTo>
                  <a:lnTo>
                    <a:pt x="562" y="2279"/>
                  </a:lnTo>
                  <a:lnTo>
                    <a:pt x="567" y="2273"/>
                  </a:lnTo>
                  <a:lnTo>
                    <a:pt x="572" y="2267"/>
                  </a:lnTo>
                  <a:lnTo>
                    <a:pt x="578" y="2263"/>
                  </a:lnTo>
                  <a:lnTo>
                    <a:pt x="584" y="2259"/>
                  </a:lnTo>
                  <a:lnTo>
                    <a:pt x="589" y="2256"/>
                  </a:lnTo>
                  <a:lnTo>
                    <a:pt x="595" y="2254"/>
                  </a:lnTo>
                  <a:lnTo>
                    <a:pt x="603" y="2253"/>
                  </a:lnTo>
                  <a:lnTo>
                    <a:pt x="609" y="2252"/>
                  </a:lnTo>
                  <a:lnTo>
                    <a:pt x="609" y="2252"/>
                  </a:lnTo>
                  <a:lnTo>
                    <a:pt x="619" y="2253"/>
                  </a:lnTo>
                  <a:lnTo>
                    <a:pt x="630" y="2257"/>
                  </a:lnTo>
                  <a:lnTo>
                    <a:pt x="640" y="2262"/>
                  </a:lnTo>
                  <a:lnTo>
                    <a:pt x="648" y="2268"/>
                  </a:lnTo>
                  <a:lnTo>
                    <a:pt x="634" y="2327"/>
                  </a:lnTo>
                  <a:close/>
                  <a:moveTo>
                    <a:pt x="227" y="2258"/>
                  </a:moveTo>
                  <a:lnTo>
                    <a:pt x="278" y="2258"/>
                  </a:lnTo>
                  <a:lnTo>
                    <a:pt x="219" y="2505"/>
                  </a:lnTo>
                  <a:lnTo>
                    <a:pt x="174" y="2505"/>
                  </a:lnTo>
                  <a:lnTo>
                    <a:pt x="151" y="2403"/>
                  </a:lnTo>
                  <a:lnTo>
                    <a:pt x="151" y="2403"/>
                  </a:lnTo>
                  <a:lnTo>
                    <a:pt x="139" y="2349"/>
                  </a:lnTo>
                  <a:lnTo>
                    <a:pt x="139" y="2349"/>
                  </a:lnTo>
                  <a:lnTo>
                    <a:pt x="134" y="2375"/>
                  </a:lnTo>
                  <a:lnTo>
                    <a:pt x="128" y="2404"/>
                  </a:lnTo>
                  <a:lnTo>
                    <a:pt x="104" y="2505"/>
                  </a:lnTo>
                  <a:lnTo>
                    <a:pt x="59" y="2505"/>
                  </a:lnTo>
                  <a:lnTo>
                    <a:pt x="59" y="2504"/>
                  </a:lnTo>
                  <a:lnTo>
                    <a:pt x="0" y="2258"/>
                  </a:lnTo>
                  <a:lnTo>
                    <a:pt x="54" y="2258"/>
                  </a:lnTo>
                  <a:lnTo>
                    <a:pt x="73" y="2350"/>
                  </a:lnTo>
                  <a:lnTo>
                    <a:pt x="73" y="2350"/>
                  </a:lnTo>
                  <a:lnTo>
                    <a:pt x="78" y="2380"/>
                  </a:lnTo>
                  <a:lnTo>
                    <a:pt x="83" y="2411"/>
                  </a:lnTo>
                  <a:lnTo>
                    <a:pt x="83" y="2411"/>
                  </a:lnTo>
                  <a:lnTo>
                    <a:pt x="90" y="2380"/>
                  </a:lnTo>
                  <a:lnTo>
                    <a:pt x="96" y="2349"/>
                  </a:lnTo>
                  <a:lnTo>
                    <a:pt x="118" y="2258"/>
                  </a:lnTo>
                  <a:lnTo>
                    <a:pt x="162" y="2258"/>
                  </a:lnTo>
                  <a:lnTo>
                    <a:pt x="184" y="2349"/>
                  </a:lnTo>
                  <a:lnTo>
                    <a:pt x="184" y="2349"/>
                  </a:lnTo>
                  <a:lnTo>
                    <a:pt x="190" y="2379"/>
                  </a:lnTo>
                  <a:lnTo>
                    <a:pt x="197" y="2412"/>
                  </a:lnTo>
                  <a:lnTo>
                    <a:pt x="197" y="2412"/>
                  </a:lnTo>
                  <a:lnTo>
                    <a:pt x="201" y="2383"/>
                  </a:lnTo>
                  <a:lnTo>
                    <a:pt x="207" y="2349"/>
                  </a:lnTo>
                  <a:lnTo>
                    <a:pt x="227" y="2258"/>
                  </a:lnTo>
                  <a:close/>
                  <a:moveTo>
                    <a:pt x="383" y="2252"/>
                  </a:moveTo>
                  <a:lnTo>
                    <a:pt x="383" y="2252"/>
                  </a:lnTo>
                  <a:lnTo>
                    <a:pt x="374" y="2253"/>
                  </a:lnTo>
                  <a:lnTo>
                    <a:pt x="363" y="2254"/>
                  </a:lnTo>
                  <a:lnTo>
                    <a:pt x="354" y="2258"/>
                  </a:lnTo>
                  <a:lnTo>
                    <a:pt x="346" y="2262"/>
                  </a:lnTo>
                  <a:lnTo>
                    <a:pt x="337" y="2267"/>
                  </a:lnTo>
                  <a:lnTo>
                    <a:pt x="329" y="2273"/>
                  </a:lnTo>
                  <a:lnTo>
                    <a:pt x="322" y="2280"/>
                  </a:lnTo>
                  <a:lnTo>
                    <a:pt x="315" y="2289"/>
                  </a:lnTo>
                  <a:lnTo>
                    <a:pt x="309" y="2297"/>
                  </a:lnTo>
                  <a:lnTo>
                    <a:pt x="304" y="2307"/>
                  </a:lnTo>
                  <a:lnTo>
                    <a:pt x="299" y="2318"/>
                  </a:lnTo>
                  <a:lnTo>
                    <a:pt x="296" y="2329"/>
                  </a:lnTo>
                  <a:lnTo>
                    <a:pt x="292" y="2342"/>
                  </a:lnTo>
                  <a:lnTo>
                    <a:pt x="290" y="2354"/>
                  </a:lnTo>
                  <a:lnTo>
                    <a:pt x="288" y="2367"/>
                  </a:lnTo>
                  <a:lnTo>
                    <a:pt x="288" y="2382"/>
                  </a:lnTo>
                  <a:lnTo>
                    <a:pt x="288" y="2382"/>
                  </a:lnTo>
                  <a:lnTo>
                    <a:pt x="288" y="2396"/>
                  </a:lnTo>
                  <a:lnTo>
                    <a:pt x="290" y="2409"/>
                  </a:lnTo>
                  <a:lnTo>
                    <a:pt x="292" y="2422"/>
                  </a:lnTo>
                  <a:lnTo>
                    <a:pt x="296" y="2434"/>
                  </a:lnTo>
                  <a:lnTo>
                    <a:pt x="299" y="2445"/>
                  </a:lnTo>
                  <a:lnTo>
                    <a:pt x="304" y="2456"/>
                  </a:lnTo>
                  <a:lnTo>
                    <a:pt x="309" y="2466"/>
                  </a:lnTo>
                  <a:lnTo>
                    <a:pt x="315" y="2474"/>
                  </a:lnTo>
                  <a:lnTo>
                    <a:pt x="322" y="2483"/>
                  </a:lnTo>
                  <a:lnTo>
                    <a:pt x="329" y="2490"/>
                  </a:lnTo>
                  <a:lnTo>
                    <a:pt x="337" y="2497"/>
                  </a:lnTo>
                  <a:lnTo>
                    <a:pt x="346" y="2502"/>
                  </a:lnTo>
                  <a:lnTo>
                    <a:pt x="354" y="2505"/>
                  </a:lnTo>
                  <a:lnTo>
                    <a:pt x="363" y="2509"/>
                  </a:lnTo>
                  <a:lnTo>
                    <a:pt x="374" y="2510"/>
                  </a:lnTo>
                  <a:lnTo>
                    <a:pt x="383" y="2511"/>
                  </a:lnTo>
                  <a:lnTo>
                    <a:pt x="383" y="2511"/>
                  </a:lnTo>
                  <a:lnTo>
                    <a:pt x="393" y="2510"/>
                  </a:lnTo>
                  <a:lnTo>
                    <a:pt x="404" y="2509"/>
                  </a:lnTo>
                  <a:lnTo>
                    <a:pt x="413" y="2505"/>
                  </a:lnTo>
                  <a:lnTo>
                    <a:pt x="422" y="2502"/>
                  </a:lnTo>
                  <a:lnTo>
                    <a:pt x="430" y="2497"/>
                  </a:lnTo>
                  <a:lnTo>
                    <a:pt x="438" y="2490"/>
                  </a:lnTo>
                  <a:lnTo>
                    <a:pt x="445" y="2483"/>
                  </a:lnTo>
                  <a:lnTo>
                    <a:pt x="452" y="2474"/>
                  </a:lnTo>
                  <a:lnTo>
                    <a:pt x="458" y="2466"/>
                  </a:lnTo>
                  <a:lnTo>
                    <a:pt x="463" y="2456"/>
                  </a:lnTo>
                  <a:lnTo>
                    <a:pt x="467" y="2445"/>
                  </a:lnTo>
                  <a:lnTo>
                    <a:pt x="471" y="2434"/>
                  </a:lnTo>
                  <a:lnTo>
                    <a:pt x="475" y="2422"/>
                  </a:lnTo>
                  <a:lnTo>
                    <a:pt x="477" y="2409"/>
                  </a:lnTo>
                  <a:lnTo>
                    <a:pt x="479" y="2396"/>
                  </a:lnTo>
                  <a:lnTo>
                    <a:pt x="479" y="2382"/>
                  </a:lnTo>
                  <a:lnTo>
                    <a:pt x="479" y="2382"/>
                  </a:lnTo>
                  <a:lnTo>
                    <a:pt x="479" y="2367"/>
                  </a:lnTo>
                  <a:lnTo>
                    <a:pt x="477" y="2354"/>
                  </a:lnTo>
                  <a:lnTo>
                    <a:pt x="475" y="2342"/>
                  </a:lnTo>
                  <a:lnTo>
                    <a:pt x="471" y="2329"/>
                  </a:lnTo>
                  <a:lnTo>
                    <a:pt x="467" y="2318"/>
                  </a:lnTo>
                  <a:lnTo>
                    <a:pt x="463" y="2307"/>
                  </a:lnTo>
                  <a:lnTo>
                    <a:pt x="458" y="2297"/>
                  </a:lnTo>
                  <a:lnTo>
                    <a:pt x="452" y="2289"/>
                  </a:lnTo>
                  <a:lnTo>
                    <a:pt x="445" y="2280"/>
                  </a:lnTo>
                  <a:lnTo>
                    <a:pt x="438" y="2273"/>
                  </a:lnTo>
                  <a:lnTo>
                    <a:pt x="430" y="2267"/>
                  </a:lnTo>
                  <a:lnTo>
                    <a:pt x="422" y="2262"/>
                  </a:lnTo>
                  <a:lnTo>
                    <a:pt x="413" y="2258"/>
                  </a:lnTo>
                  <a:lnTo>
                    <a:pt x="404" y="2254"/>
                  </a:lnTo>
                  <a:lnTo>
                    <a:pt x="393" y="2253"/>
                  </a:lnTo>
                  <a:lnTo>
                    <a:pt x="383" y="2252"/>
                  </a:lnTo>
                  <a:lnTo>
                    <a:pt x="383" y="2252"/>
                  </a:lnTo>
                  <a:close/>
                  <a:moveTo>
                    <a:pt x="383" y="2454"/>
                  </a:moveTo>
                  <a:lnTo>
                    <a:pt x="383" y="2454"/>
                  </a:lnTo>
                  <a:lnTo>
                    <a:pt x="374" y="2452"/>
                  </a:lnTo>
                  <a:lnTo>
                    <a:pt x="365" y="2449"/>
                  </a:lnTo>
                  <a:lnTo>
                    <a:pt x="359" y="2442"/>
                  </a:lnTo>
                  <a:lnTo>
                    <a:pt x="353" y="2434"/>
                  </a:lnTo>
                  <a:lnTo>
                    <a:pt x="348" y="2424"/>
                  </a:lnTo>
                  <a:lnTo>
                    <a:pt x="343" y="2412"/>
                  </a:lnTo>
                  <a:lnTo>
                    <a:pt x="341" y="2397"/>
                  </a:lnTo>
                  <a:lnTo>
                    <a:pt x="341" y="2382"/>
                  </a:lnTo>
                  <a:lnTo>
                    <a:pt x="341" y="2382"/>
                  </a:lnTo>
                  <a:lnTo>
                    <a:pt x="341" y="2366"/>
                  </a:lnTo>
                  <a:lnTo>
                    <a:pt x="343" y="2352"/>
                  </a:lnTo>
                  <a:lnTo>
                    <a:pt x="348" y="2340"/>
                  </a:lnTo>
                  <a:lnTo>
                    <a:pt x="353" y="2329"/>
                  </a:lnTo>
                  <a:lnTo>
                    <a:pt x="359" y="2321"/>
                  </a:lnTo>
                  <a:lnTo>
                    <a:pt x="365" y="2315"/>
                  </a:lnTo>
                  <a:lnTo>
                    <a:pt x="374" y="2311"/>
                  </a:lnTo>
                  <a:lnTo>
                    <a:pt x="383" y="2310"/>
                  </a:lnTo>
                  <a:lnTo>
                    <a:pt x="383" y="2310"/>
                  </a:lnTo>
                  <a:lnTo>
                    <a:pt x="392" y="2311"/>
                  </a:lnTo>
                  <a:lnTo>
                    <a:pt x="401" y="2315"/>
                  </a:lnTo>
                  <a:lnTo>
                    <a:pt x="408" y="2321"/>
                  </a:lnTo>
                  <a:lnTo>
                    <a:pt x="414" y="2329"/>
                  </a:lnTo>
                  <a:lnTo>
                    <a:pt x="419" y="2340"/>
                  </a:lnTo>
                  <a:lnTo>
                    <a:pt x="423" y="2352"/>
                  </a:lnTo>
                  <a:lnTo>
                    <a:pt x="425" y="2366"/>
                  </a:lnTo>
                  <a:lnTo>
                    <a:pt x="426" y="2382"/>
                  </a:lnTo>
                  <a:lnTo>
                    <a:pt x="426" y="2382"/>
                  </a:lnTo>
                  <a:lnTo>
                    <a:pt x="425" y="2397"/>
                  </a:lnTo>
                  <a:lnTo>
                    <a:pt x="423" y="2412"/>
                  </a:lnTo>
                  <a:lnTo>
                    <a:pt x="419" y="2424"/>
                  </a:lnTo>
                  <a:lnTo>
                    <a:pt x="414" y="2434"/>
                  </a:lnTo>
                  <a:lnTo>
                    <a:pt x="408" y="2442"/>
                  </a:lnTo>
                  <a:lnTo>
                    <a:pt x="401" y="2449"/>
                  </a:lnTo>
                  <a:lnTo>
                    <a:pt x="392" y="2452"/>
                  </a:lnTo>
                  <a:lnTo>
                    <a:pt x="383" y="2454"/>
                  </a:lnTo>
                  <a:lnTo>
                    <a:pt x="383" y="2454"/>
                  </a:lnTo>
                  <a:close/>
                  <a:moveTo>
                    <a:pt x="2140" y="2327"/>
                  </a:moveTo>
                  <a:lnTo>
                    <a:pt x="2140" y="2327"/>
                  </a:lnTo>
                  <a:lnTo>
                    <a:pt x="2131" y="2322"/>
                  </a:lnTo>
                  <a:lnTo>
                    <a:pt x="2123" y="2317"/>
                  </a:lnTo>
                  <a:lnTo>
                    <a:pt x="2114" y="2315"/>
                  </a:lnTo>
                  <a:lnTo>
                    <a:pt x="2105" y="2313"/>
                  </a:lnTo>
                  <a:lnTo>
                    <a:pt x="2105" y="2313"/>
                  </a:lnTo>
                  <a:lnTo>
                    <a:pt x="2096" y="2315"/>
                  </a:lnTo>
                  <a:lnTo>
                    <a:pt x="2089" y="2317"/>
                  </a:lnTo>
                  <a:lnTo>
                    <a:pt x="2083" y="2322"/>
                  </a:lnTo>
                  <a:lnTo>
                    <a:pt x="2077" y="2328"/>
                  </a:lnTo>
                  <a:lnTo>
                    <a:pt x="2073" y="2336"/>
                  </a:lnTo>
                  <a:lnTo>
                    <a:pt x="2070" y="2345"/>
                  </a:lnTo>
                  <a:lnTo>
                    <a:pt x="2068" y="2358"/>
                  </a:lnTo>
                  <a:lnTo>
                    <a:pt x="2068" y="2371"/>
                  </a:lnTo>
                  <a:lnTo>
                    <a:pt x="2068" y="2505"/>
                  </a:lnTo>
                  <a:lnTo>
                    <a:pt x="2016" y="2505"/>
                  </a:lnTo>
                  <a:lnTo>
                    <a:pt x="2016" y="2258"/>
                  </a:lnTo>
                  <a:lnTo>
                    <a:pt x="2068" y="2258"/>
                  </a:lnTo>
                  <a:lnTo>
                    <a:pt x="2068" y="2279"/>
                  </a:lnTo>
                  <a:lnTo>
                    <a:pt x="2068" y="2279"/>
                  </a:lnTo>
                  <a:lnTo>
                    <a:pt x="2072" y="2273"/>
                  </a:lnTo>
                  <a:lnTo>
                    <a:pt x="2077" y="2267"/>
                  </a:lnTo>
                  <a:lnTo>
                    <a:pt x="2083" y="2263"/>
                  </a:lnTo>
                  <a:lnTo>
                    <a:pt x="2089" y="2259"/>
                  </a:lnTo>
                  <a:lnTo>
                    <a:pt x="2095" y="2256"/>
                  </a:lnTo>
                  <a:lnTo>
                    <a:pt x="2101" y="2254"/>
                  </a:lnTo>
                  <a:lnTo>
                    <a:pt x="2108" y="2253"/>
                  </a:lnTo>
                  <a:lnTo>
                    <a:pt x="2114" y="2252"/>
                  </a:lnTo>
                  <a:lnTo>
                    <a:pt x="2114" y="2252"/>
                  </a:lnTo>
                  <a:lnTo>
                    <a:pt x="2124" y="2253"/>
                  </a:lnTo>
                  <a:lnTo>
                    <a:pt x="2135" y="2257"/>
                  </a:lnTo>
                  <a:lnTo>
                    <a:pt x="2145" y="2262"/>
                  </a:lnTo>
                  <a:lnTo>
                    <a:pt x="2153" y="2268"/>
                  </a:lnTo>
                  <a:lnTo>
                    <a:pt x="2140" y="2327"/>
                  </a:lnTo>
                  <a:close/>
                  <a:moveTo>
                    <a:pt x="1732" y="2258"/>
                  </a:moveTo>
                  <a:lnTo>
                    <a:pt x="1783" y="2258"/>
                  </a:lnTo>
                  <a:lnTo>
                    <a:pt x="1723" y="2505"/>
                  </a:lnTo>
                  <a:lnTo>
                    <a:pt x="1679" y="2505"/>
                  </a:lnTo>
                  <a:lnTo>
                    <a:pt x="1656" y="2403"/>
                  </a:lnTo>
                  <a:lnTo>
                    <a:pt x="1656" y="2403"/>
                  </a:lnTo>
                  <a:lnTo>
                    <a:pt x="1644" y="2349"/>
                  </a:lnTo>
                  <a:lnTo>
                    <a:pt x="1644" y="2349"/>
                  </a:lnTo>
                  <a:lnTo>
                    <a:pt x="1639" y="2375"/>
                  </a:lnTo>
                  <a:lnTo>
                    <a:pt x="1633" y="2404"/>
                  </a:lnTo>
                  <a:lnTo>
                    <a:pt x="1610" y="2505"/>
                  </a:lnTo>
                  <a:lnTo>
                    <a:pt x="1565" y="2505"/>
                  </a:lnTo>
                  <a:lnTo>
                    <a:pt x="1564" y="2504"/>
                  </a:lnTo>
                  <a:lnTo>
                    <a:pt x="1506" y="2258"/>
                  </a:lnTo>
                  <a:lnTo>
                    <a:pt x="1559" y="2258"/>
                  </a:lnTo>
                  <a:lnTo>
                    <a:pt x="1579" y="2350"/>
                  </a:lnTo>
                  <a:lnTo>
                    <a:pt x="1579" y="2350"/>
                  </a:lnTo>
                  <a:lnTo>
                    <a:pt x="1584" y="2380"/>
                  </a:lnTo>
                  <a:lnTo>
                    <a:pt x="1589" y="2411"/>
                  </a:lnTo>
                  <a:lnTo>
                    <a:pt x="1589" y="2411"/>
                  </a:lnTo>
                  <a:lnTo>
                    <a:pt x="1594" y="2380"/>
                  </a:lnTo>
                  <a:lnTo>
                    <a:pt x="1602" y="2349"/>
                  </a:lnTo>
                  <a:lnTo>
                    <a:pt x="1624" y="2258"/>
                  </a:lnTo>
                  <a:lnTo>
                    <a:pt x="1667" y="2258"/>
                  </a:lnTo>
                  <a:lnTo>
                    <a:pt x="1689" y="2349"/>
                  </a:lnTo>
                  <a:lnTo>
                    <a:pt x="1689" y="2349"/>
                  </a:lnTo>
                  <a:lnTo>
                    <a:pt x="1695" y="2379"/>
                  </a:lnTo>
                  <a:lnTo>
                    <a:pt x="1702" y="2412"/>
                  </a:lnTo>
                  <a:lnTo>
                    <a:pt x="1702" y="2412"/>
                  </a:lnTo>
                  <a:lnTo>
                    <a:pt x="1707" y="2383"/>
                  </a:lnTo>
                  <a:lnTo>
                    <a:pt x="1713" y="2349"/>
                  </a:lnTo>
                  <a:lnTo>
                    <a:pt x="1732" y="2258"/>
                  </a:lnTo>
                  <a:close/>
                  <a:moveTo>
                    <a:pt x="1888" y="2252"/>
                  </a:moveTo>
                  <a:lnTo>
                    <a:pt x="1888" y="2252"/>
                  </a:lnTo>
                  <a:lnTo>
                    <a:pt x="1879" y="2253"/>
                  </a:lnTo>
                  <a:lnTo>
                    <a:pt x="1868" y="2254"/>
                  </a:lnTo>
                  <a:lnTo>
                    <a:pt x="1859" y="2258"/>
                  </a:lnTo>
                  <a:lnTo>
                    <a:pt x="1850" y="2262"/>
                  </a:lnTo>
                  <a:lnTo>
                    <a:pt x="1842" y="2267"/>
                  </a:lnTo>
                  <a:lnTo>
                    <a:pt x="1834" y="2274"/>
                  </a:lnTo>
                  <a:lnTo>
                    <a:pt x="1827" y="2280"/>
                  </a:lnTo>
                  <a:lnTo>
                    <a:pt x="1820" y="2289"/>
                  </a:lnTo>
                  <a:lnTo>
                    <a:pt x="1814" y="2297"/>
                  </a:lnTo>
                  <a:lnTo>
                    <a:pt x="1809" y="2307"/>
                  </a:lnTo>
                  <a:lnTo>
                    <a:pt x="1804" y="2318"/>
                  </a:lnTo>
                  <a:lnTo>
                    <a:pt x="1800" y="2329"/>
                  </a:lnTo>
                  <a:lnTo>
                    <a:pt x="1797" y="2342"/>
                  </a:lnTo>
                  <a:lnTo>
                    <a:pt x="1794" y="2355"/>
                  </a:lnTo>
                  <a:lnTo>
                    <a:pt x="1793" y="2367"/>
                  </a:lnTo>
                  <a:lnTo>
                    <a:pt x="1793" y="2382"/>
                  </a:lnTo>
                  <a:lnTo>
                    <a:pt x="1793" y="2382"/>
                  </a:lnTo>
                  <a:lnTo>
                    <a:pt x="1793" y="2396"/>
                  </a:lnTo>
                  <a:lnTo>
                    <a:pt x="1794" y="2409"/>
                  </a:lnTo>
                  <a:lnTo>
                    <a:pt x="1797" y="2422"/>
                  </a:lnTo>
                  <a:lnTo>
                    <a:pt x="1800" y="2434"/>
                  </a:lnTo>
                  <a:lnTo>
                    <a:pt x="1804" y="2445"/>
                  </a:lnTo>
                  <a:lnTo>
                    <a:pt x="1809" y="2456"/>
                  </a:lnTo>
                  <a:lnTo>
                    <a:pt x="1814" y="2466"/>
                  </a:lnTo>
                  <a:lnTo>
                    <a:pt x="1820" y="2474"/>
                  </a:lnTo>
                  <a:lnTo>
                    <a:pt x="1827" y="2483"/>
                  </a:lnTo>
                  <a:lnTo>
                    <a:pt x="1834" y="2490"/>
                  </a:lnTo>
                  <a:lnTo>
                    <a:pt x="1842" y="2497"/>
                  </a:lnTo>
                  <a:lnTo>
                    <a:pt x="1850" y="2502"/>
                  </a:lnTo>
                  <a:lnTo>
                    <a:pt x="1859" y="2505"/>
                  </a:lnTo>
                  <a:lnTo>
                    <a:pt x="1868" y="2509"/>
                  </a:lnTo>
                  <a:lnTo>
                    <a:pt x="1879" y="2510"/>
                  </a:lnTo>
                  <a:lnTo>
                    <a:pt x="1888" y="2511"/>
                  </a:lnTo>
                  <a:lnTo>
                    <a:pt x="1888" y="2511"/>
                  </a:lnTo>
                  <a:lnTo>
                    <a:pt x="1898" y="2510"/>
                  </a:lnTo>
                  <a:lnTo>
                    <a:pt x="1909" y="2509"/>
                  </a:lnTo>
                  <a:lnTo>
                    <a:pt x="1918" y="2505"/>
                  </a:lnTo>
                  <a:lnTo>
                    <a:pt x="1926" y="2502"/>
                  </a:lnTo>
                  <a:lnTo>
                    <a:pt x="1935" y="2497"/>
                  </a:lnTo>
                  <a:lnTo>
                    <a:pt x="1943" y="2490"/>
                  </a:lnTo>
                  <a:lnTo>
                    <a:pt x="1950" y="2483"/>
                  </a:lnTo>
                  <a:lnTo>
                    <a:pt x="1957" y="2474"/>
                  </a:lnTo>
                  <a:lnTo>
                    <a:pt x="1963" y="2466"/>
                  </a:lnTo>
                  <a:lnTo>
                    <a:pt x="1968" y="2456"/>
                  </a:lnTo>
                  <a:lnTo>
                    <a:pt x="1972" y="2445"/>
                  </a:lnTo>
                  <a:lnTo>
                    <a:pt x="1976" y="2434"/>
                  </a:lnTo>
                  <a:lnTo>
                    <a:pt x="1979" y="2422"/>
                  </a:lnTo>
                  <a:lnTo>
                    <a:pt x="1982" y="2409"/>
                  </a:lnTo>
                  <a:lnTo>
                    <a:pt x="1984" y="2396"/>
                  </a:lnTo>
                  <a:lnTo>
                    <a:pt x="1984" y="2382"/>
                  </a:lnTo>
                  <a:lnTo>
                    <a:pt x="1984" y="2382"/>
                  </a:lnTo>
                  <a:lnTo>
                    <a:pt x="1984" y="2367"/>
                  </a:lnTo>
                  <a:lnTo>
                    <a:pt x="1982" y="2355"/>
                  </a:lnTo>
                  <a:lnTo>
                    <a:pt x="1979" y="2342"/>
                  </a:lnTo>
                  <a:lnTo>
                    <a:pt x="1976" y="2329"/>
                  </a:lnTo>
                  <a:lnTo>
                    <a:pt x="1972" y="2318"/>
                  </a:lnTo>
                  <a:lnTo>
                    <a:pt x="1968" y="2307"/>
                  </a:lnTo>
                  <a:lnTo>
                    <a:pt x="1963" y="2297"/>
                  </a:lnTo>
                  <a:lnTo>
                    <a:pt x="1957" y="2289"/>
                  </a:lnTo>
                  <a:lnTo>
                    <a:pt x="1950" y="2280"/>
                  </a:lnTo>
                  <a:lnTo>
                    <a:pt x="1943" y="2274"/>
                  </a:lnTo>
                  <a:lnTo>
                    <a:pt x="1935" y="2267"/>
                  </a:lnTo>
                  <a:lnTo>
                    <a:pt x="1926" y="2262"/>
                  </a:lnTo>
                  <a:lnTo>
                    <a:pt x="1918" y="2258"/>
                  </a:lnTo>
                  <a:lnTo>
                    <a:pt x="1909" y="2254"/>
                  </a:lnTo>
                  <a:lnTo>
                    <a:pt x="1898" y="2253"/>
                  </a:lnTo>
                  <a:lnTo>
                    <a:pt x="1888" y="2252"/>
                  </a:lnTo>
                  <a:lnTo>
                    <a:pt x="1888" y="2252"/>
                  </a:lnTo>
                  <a:close/>
                  <a:moveTo>
                    <a:pt x="1888" y="2454"/>
                  </a:moveTo>
                  <a:lnTo>
                    <a:pt x="1888" y="2454"/>
                  </a:lnTo>
                  <a:lnTo>
                    <a:pt x="1879" y="2452"/>
                  </a:lnTo>
                  <a:lnTo>
                    <a:pt x="1871" y="2449"/>
                  </a:lnTo>
                  <a:lnTo>
                    <a:pt x="1864" y="2442"/>
                  </a:lnTo>
                  <a:lnTo>
                    <a:pt x="1858" y="2434"/>
                  </a:lnTo>
                  <a:lnTo>
                    <a:pt x="1853" y="2424"/>
                  </a:lnTo>
                  <a:lnTo>
                    <a:pt x="1848" y="2412"/>
                  </a:lnTo>
                  <a:lnTo>
                    <a:pt x="1846" y="2397"/>
                  </a:lnTo>
                  <a:lnTo>
                    <a:pt x="1846" y="2382"/>
                  </a:lnTo>
                  <a:lnTo>
                    <a:pt x="1846" y="2382"/>
                  </a:lnTo>
                  <a:lnTo>
                    <a:pt x="1846" y="2366"/>
                  </a:lnTo>
                  <a:lnTo>
                    <a:pt x="1848" y="2353"/>
                  </a:lnTo>
                  <a:lnTo>
                    <a:pt x="1853" y="2340"/>
                  </a:lnTo>
                  <a:lnTo>
                    <a:pt x="1858" y="2329"/>
                  </a:lnTo>
                  <a:lnTo>
                    <a:pt x="1864" y="2321"/>
                  </a:lnTo>
                  <a:lnTo>
                    <a:pt x="1871" y="2315"/>
                  </a:lnTo>
                  <a:lnTo>
                    <a:pt x="1879" y="2311"/>
                  </a:lnTo>
                  <a:lnTo>
                    <a:pt x="1888" y="2310"/>
                  </a:lnTo>
                  <a:lnTo>
                    <a:pt x="1888" y="2310"/>
                  </a:lnTo>
                  <a:lnTo>
                    <a:pt x="1897" y="2311"/>
                  </a:lnTo>
                  <a:lnTo>
                    <a:pt x="1906" y="2315"/>
                  </a:lnTo>
                  <a:lnTo>
                    <a:pt x="1913" y="2321"/>
                  </a:lnTo>
                  <a:lnTo>
                    <a:pt x="1919" y="2329"/>
                  </a:lnTo>
                  <a:lnTo>
                    <a:pt x="1924" y="2340"/>
                  </a:lnTo>
                  <a:lnTo>
                    <a:pt x="1927" y="2353"/>
                  </a:lnTo>
                  <a:lnTo>
                    <a:pt x="1930" y="2366"/>
                  </a:lnTo>
                  <a:lnTo>
                    <a:pt x="1931" y="2382"/>
                  </a:lnTo>
                  <a:lnTo>
                    <a:pt x="1931" y="2382"/>
                  </a:lnTo>
                  <a:lnTo>
                    <a:pt x="1930" y="2397"/>
                  </a:lnTo>
                  <a:lnTo>
                    <a:pt x="1927" y="2412"/>
                  </a:lnTo>
                  <a:lnTo>
                    <a:pt x="1924" y="2424"/>
                  </a:lnTo>
                  <a:lnTo>
                    <a:pt x="1919" y="2434"/>
                  </a:lnTo>
                  <a:lnTo>
                    <a:pt x="1913" y="2442"/>
                  </a:lnTo>
                  <a:lnTo>
                    <a:pt x="1906" y="2449"/>
                  </a:lnTo>
                  <a:lnTo>
                    <a:pt x="1897" y="2452"/>
                  </a:lnTo>
                  <a:lnTo>
                    <a:pt x="1888" y="2454"/>
                  </a:lnTo>
                  <a:lnTo>
                    <a:pt x="1888" y="2454"/>
                  </a:lnTo>
                  <a:close/>
                  <a:moveTo>
                    <a:pt x="789" y="2339"/>
                  </a:moveTo>
                  <a:lnTo>
                    <a:pt x="852" y="2505"/>
                  </a:lnTo>
                  <a:lnTo>
                    <a:pt x="795" y="2505"/>
                  </a:lnTo>
                  <a:lnTo>
                    <a:pt x="751" y="2391"/>
                  </a:lnTo>
                  <a:lnTo>
                    <a:pt x="723" y="2431"/>
                  </a:lnTo>
                  <a:lnTo>
                    <a:pt x="723" y="2505"/>
                  </a:lnTo>
                  <a:lnTo>
                    <a:pt x="672" y="2505"/>
                  </a:lnTo>
                  <a:lnTo>
                    <a:pt x="672" y="2186"/>
                  </a:lnTo>
                  <a:lnTo>
                    <a:pt x="723" y="2155"/>
                  </a:lnTo>
                  <a:lnTo>
                    <a:pt x="723" y="2353"/>
                  </a:lnTo>
                  <a:lnTo>
                    <a:pt x="723" y="2353"/>
                  </a:lnTo>
                  <a:lnTo>
                    <a:pt x="743" y="2321"/>
                  </a:lnTo>
                  <a:lnTo>
                    <a:pt x="785" y="2258"/>
                  </a:lnTo>
                  <a:lnTo>
                    <a:pt x="845" y="2258"/>
                  </a:lnTo>
                  <a:lnTo>
                    <a:pt x="789" y="2339"/>
                  </a:lnTo>
                  <a:close/>
                  <a:moveTo>
                    <a:pt x="1034" y="2505"/>
                  </a:moveTo>
                  <a:lnTo>
                    <a:pt x="982" y="2505"/>
                  </a:lnTo>
                  <a:lnTo>
                    <a:pt x="982" y="2258"/>
                  </a:lnTo>
                  <a:lnTo>
                    <a:pt x="1034" y="2258"/>
                  </a:lnTo>
                  <a:lnTo>
                    <a:pt x="1034" y="2279"/>
                  </a:lnTo>
                  <a:lnTo>
                    <a:pt x="1034" y="2279"/>
                  </a:lnTo>
                  <a:lnTo>
                    <a:pt x="1040" y="2273"/>
                  </a:lnTo>
                  <a:lnTo>
                    <a:pt x="1045" y="2268"/>
                  </a:lnTo>
                  <a:lnTo>
                    <a:pt x="1051" y="2263"/>
                  </a:lnTo>
                  <a:lnTo>
                    <a:pt x="1057" y="2259"/>
                  </a:lnTo>
                  <a:lnTo>
                    <a:pt x="1065" y="2257"/>
                  </a:lnTo>
                  <a:lnTo>
                    <a:pt x="1072" y="2254"/>
                  </a:lnTo>
                  <a:lnTo>
                    <a:pt x="1079" y="2253"/>
                  </a:lnTo>
                  <a:lnTo>
                    <a:pt x="1088" y="2252"/>
                  </a:lnTo>
                  <a:lnTo>
                    <a:pt x="1088" y="2252"/>
                  </a:lnTo>
                  <a:lnTo>
                    <a:pt x="1097" y="2253"/>
                  </a:lnTo>
                  <a:lnTo>
                    <a:pt x="1105" y="2254"/>
                  </a:lnTo>
                  <a:lnTo>
                    <a:pt x="1113" y="2257"/>
                  </a:lnTo>
                  <a:lnTo>
                    <a:pt x="1121" y="2259"/>
                  </a:lnTo>
                  <a:lnTo>
                    <a:pt x="1127" y="2264"/>
                  </a:lnTo>
                  <a:lnTo>
                    <a:pt x="1133" y="2269"/>
                  </a:lnTo>
                  <a:lnTo>
                    <a:pt x="1140" y="2274"/>
                  </a:lnTo>
                  <a:lnTo>
                    <a:pt x="1145" y="2281"/>
                  </a:lnTo>
                  <a:lnTo>
                    <a:pt x="1149" y="2289"/>
                  </a:lnTo>
                  <a:lnTo>
                    <a:pt x="1153" y="2297"/>
                  </a:lnTo>
                  <a:lnTo>
                    <a:pt x="1156" y="2306"/>
                  </a:lnTo>
                  <a:lnTo>
                    <a:pt x="1159" y="2317"/>
                  </a:lnTo>
                  <a:lnTo>
                    <a:pt x="1161" y="2328"/>
                  </a:lnTo>
                  <a:lnTo>
                    <a:pt x="1163" y="2339"/>
                  </a:lnTo>
                  <a:lnTo>
                    <a:pt x="1164" y="2352"/>
                  </a:lnTo>
                  <a:lnTo>
                    <a:pt x="1165" y="2365"/>
                  </a:lnTo>
                  <a:lnTo>
                    <a:pt x="1165" y="2505"/>
                  </a:lnTo>
                  <a:lnTo>
                    <a:pt x="1113" y="2505"/>
                  </a:lnTo>
                  <a:lnTo>
                    <a:pt x="1113" y="2369"/>
                  </a:lnTo>
                  <a:lnTo>
                    <a:pt x="1113" y="2369"/>
                  </a:lnTo>
                  <a:lnTo>
                    <a:pt x="1112" y="2355"/>
                  </a:lnTo>
                  <a:lnTo>
                    <a:pt x="1110" y="2342"/>
                  </a:lnTo>
                  <a:lnTo>
                    <a:pt x="1107" y="2332"/>
                  </a:lnTo>
                  <a:lnTo>
                    <a:pt x="1103" y="2323"/>
                  </a:lnTo>
                  <a:lnTo>
                    <a:pt x="1098" y="2317"/>
                  </a:lnTo>
                  <a:lnTo>
                    <a:pt x="1092" y="2312"/>
                  </a:lnTo>
                  <a:lnTo>
                    <a:pt x="1083" y="2310"/>
                  </a:lnTo>
                  <a:lnTo>
                    <a:pt x="1074" y="2308"/>
                  </a:lnTo>
                  <a:lnTo>
                    <a:pt x="1074" y="2308"/>
                  </a:lnTo>
                  <a:lnTo>
                    <a:pt x="1066" y="2310"/>
                  </a:lnTo>
                  <a:lnTo>
                    <a:pt x="1057" y="2312"/>
                  </a:lnTo>
                  <a:lnTo>
                    <a:pt x="1050" y="2317"/>
                  </a:lnTo>
                  <a:lnTo>
                    <a:pt x="1045" y="2324"/>
                  </a:lnTo>
                  <a:lnTo>
                    <a:pt x="1041" y="2332"/>
                  </a:lnTo>
                  <a:lnTo>
                    <a:pt x="1038" y="2343"/>
                  </a:lnTo>
                  <a:lnTo>
                    <a:pt x="1036" y="2355"/>
                  </a:lnTo>
                  <a:lnTo>
                    <a:pt x="1034" y="2369"/>
                  </a:lnTo>
                  <a:lnTo>
                    <a:pt x="1034" y="2505"/>
                  </a:lnTo>
                  <a:close/>
                  <a:moveTo>
                    <a:pt x="1328" y="2275"/>
                  </a:moveTo>
                  <a:lnTo>
                    <a:pt x="1328" y="2275"/>
                  </a:lnTo>
                  <a:lnTo>
                    <a:pt x="1323" y="2270"/>
                  </a:lnTo>
                  <a:lnTo>
                    <a:pt x="1318" y="2265"/>
                  </a:lnTo>
                  <a:lnTo>
                    <a:pt x="1312" y="2262"/>
                  </a:lnTo>
                  <a:lnTo>
                    <a:pt x="1306" y="2258"/>
                  </a:lnTo>
                  <a:lnTo>
                    <a:pt x="1300" y="2256"/>
                  </a:lnTo>
                  <a:lnTo>
                    <a:pt x="1294" y="2254"/>
                  </a:lnTo>
                  <a:lnTo>
                    <a:pt x="1287" y="2253"/>
                  </a:lnTo>
                  <a:lnTo>
                    <a:pt x="1281" y="2252"/>
                  </a:lnTo>
                  <a:lnTo>
                    <a:pt x="1281" y="2252"/>
                  </a:lnTo>
                  <a:lnTo>
                    <a:pt x="1272" y="2253"/>
                  </a:lnTo>
                  <a:lnTo>
                    <a:pt x="1263" y="2254"/>
                  </a:lnTo>
                  <a:lnTo>
                    <a:pt x="1255" y="2257"/>
                  </a:lnTo>
                  <a:lnTo>
                    <a:pt x="1247" y="2262"/>
                  </a:lnTo>
                  <a:lnTo>
                    <a:pt x="1240" y="2265"/>
                  </a:lnTo>
                  <a:lnTo>
                    <a:pt x="1233" y="2272"/>
                  </a:lnTo>
                  <a:lnTo>
                    <a:pt x="1227" y="2279"/>
                  </a:lnTo>
                  <a:lnTo>
                    <a:pt x="1221" y="2286"/>
                  </a:lnTo>
                  <a:lnTo>
                    <a:pt x="1216" y="2295"/>
                  </a:lnTo>
                  <a:lnTo>
                    <a:pt x="1211" y="2305"/>
                  </a:lnTo>
                  <a:lnTo>
                    <a:pt x="1207" y="2315"/>
                  </a:lnTo>
                  <a:lnTo>
                    <a:pt x="1204" y="2327"/>
                  </a:lnTo>
                  <a:lnTo>
                    <a:pt x="1202" y="2338"/>
                  </a:lnTo>
                  <a:lnTo>
                    <a:pt x="1200" y="2352"/>
                  </a:lnTo>
                  <a:lnTo>
                    <a:pt x="1199" y="2365"/>
                  </a:lnTo>
                  <a:lnTo>
                    <a:pt x="1199" y="2379"/>
                  </a:lnTo>
                  <a:lnTo>
                    <a:pt x="1199" y="2379"/>
                  </a:lnTo>
                  <a:lnTo>
                    <a:pt x="1199" y="2395"/>
                  </a:lnTo>
                  <a:lnTo>
                    <a:pt x="1200" y="2408"/>
                  </a:lnTo>
                  <a:lnTo>
                    <a:pt x="1202" y="2422"/>
                  </a:lnTo>
                  <a:lnTo>
                    <a:pt x="1204" y="2435"/>
                  </a:lnTo>
                  <a:lnTo>
                    <a:pt x="1207" y="2446"/>
                  </a:lnTo>
                  <a:lnTo>
                    <a:pt x="1211" y="2457"/>
                  </a:lnTo>
                  <a:lnTo>
                    <a:pt x="1216" y="2467"/>
                  </a:lnTo>
                  <a:lnTo>
                    <a:pt x="1221" y="2476"/>
                  </a:lnTo>
                  <a:lnTo>
                    <a:pt x="1226" y="2484"/>
                  </a:lnTo>
                  <a:lnTo>
                    <a:pt x="1232" y="2490"/>
                  </a:lnTo>
                  <a:lnTo>
                    <a:pt x="1238" y="2497"/>
                  </a:lnTo>
                  <a:lnTo>
                    <a:pt x="1246" y="2502"/>
                  </a:lnTo>
                  <a:lnTo>
                    <a:pt x="1254" y="2505"/>
                  </a:lnTo>
                  <a:lnTo>
                    <a:pt x="1262" y="2509"/>
                  </a:lnTo>
                  <a:lnTo>
                    <a:pt x="1271" y="2510"/>
                  </a:lnTo>
                  <a:lnTo>
                    <a:pt x="1280" y="2511"/>
                  </a:lnTo>
                  <a:lnTo>
                    <a:pt x="1280" y="2511"/>
                  </a:lnTo>
                  <a:lnTo>
                    <a:pt x="1286" y="2510"/>
                  </a:lnTo>
                  <a:lnTo>
                    <a:pt x="1294" y="2509"/>
                  </a:lnTo>
                  <a:lnTo>
                    <a:pt x="1300" y="2508"/>
                  </a:lnTo>
                  <a:lnTo>
                    <a:pt x="1306" y="2505"/>
                  </a:lnTo>
                  <a:lnTo>
                    <a:pt x="1311" y="2502"/>
                  </a:lnTo>
                  <a:lnTo>
                    <a:pt x="1318" y="2498"/>
                  </a:lnTo>
                  <a:lnTo>
                    <a:pt x="1323" y="2493"/>
                  </a:lnTo>
                  <a:lnTo>
                    <a:pt x="1328" y="2487"/>
                  </a:lnTo>
                  <a:lnTo>
                    <a:pt x="1328" y="2493"/>
                  </a:lnTo>
                  <a:lnTo>
                    <a:pt x="1328" y="2493"/>
                  </a:lnTo>
                  <a:lnTo>
                    <a:pt x="1328" y="2503"/>
                  </a:lnTo>
                  <a:lnTo>
                    <a:pt x="1327" y="2514"/>
                  </a:lnTo>
                  <a:lnTo>
                    <a:pt x="1324" y="2525"/>
                  </a:lnTo>
                  <a:lnTo>
                    <a:pt x="1322" y="2530"/>
                  </a:lnTo>
                  <a:lnTo>
                    <a:pt x="1320" y="2535"/>
                  </a:lnTo>
                  <a:lnTo>
                    <a:pt x="1315" y="2540"/>
                  </a:lnTo>
                  <a:lnTo>
                    <a:pt x="1311" y="2545"/>
                  </a:lnTo>
                  <a:lnTo>
                    <a:pt x="1306" y="2548"/>
                  </a:lnTo>
                  <a:lnTo>
                    <a:pt x="1300" y="2552"/>
                  </a:lnTo>
                  <a:lnTo>
                    <a:pt x="1292" y="2554"/>
                  </a:lnTo>
                  <a:lnTo>
                    <a:pt x="1283" y="2557"/>
                  </a:lnTo>
                  <a:lnTo>
                    <a:pt x="1273" y="2558"/>
                  </a:lnTo>
                  <a:lnTo>
                    <a:pt x="1260" y="2558"/>
                  </a:lnTo>
                  <a:lnTo>
                    <a:pt x="1258" y="2558"/>
                  </a:lnTo>
                  <a:lnTo>
                    <a:pt x="1277" y="2606"/>
                  </a:lnTo>
                  <a:lnTo>
                    <a:pt x="1278" y="2606"/>
                  </a:lnTo>
                  <a:lnTo>
                    <a:pt x="1278" y="2606"/>
                  </a:lnTo>
                  <a:lnTo>
                    <a:pt x="1291" y="2606"/>
                  </a:lnTo>
                  <a:lnTo>
                    <a:pt x="1302" y="2605"/>
                  </a:lnTo>
                  <a:lnTo>
                    <a:pt x="1312" y="2601"/>
                  </a:lnTo>
                  <a:lnTo>
                    <a:pt x="1323" y="2599"/>
                  </a:lnTo>
                  <a:lnTo>
                    <a:pt x="1332" y="2594"/>
                  </a:lnTo>
                  <a:lnTo>
                    <a:pt x="1340" y="2589"/>
                  </a:lnTo>
                  <a:lnTo>
                    <a:pt x="1348" y="2583"/>
                  </a:lnTo>
                  <a:lnTo>
                    <a:pt x="1354" y="2575"/>
                  </a:lnTo>
                  <a:lnTo>
                    <a:pt x="1360" y="2567"/>
                  </a:lnTo>
                  <a:lnTo>
                    <a:pt x="1365" y="2558"/>
                  </a:lnTo>
                  <a:lnTo>
                    <a:pt x="1370" y="2547"/>
                  </a:lnTo>
                  <a:lnTo>
                    <a:pt x="1373" y="2536"/>
                  </a:lnTo>
                  <a:lnTo>
                    <a:pt x="1376" y="2525"/>
                  </a:lnTo>
                  <a:lnTo>
                    <a:pt x="1378" y="2511"/>
                  </a:lnTo>
                  <a:lnTo>
                    <a:pt x="1379" y="2498"/>
                  </a:lnTo>
                  <a:lnTo>
                    <a:pt x="1379" y="2483"/>
                  </a:lnTo>
                  <a:lnTo>
                    <a:pt x="1379" y="2258"/>
                  </a:lnTo>
                  <a:lnTo>
                    <a:pt x="1328" y="2258"/>
                  </a:lnTo>
                  <a:lnTo>
                    <a:pt x="1328" y="2275"/>
                  </a:lnTo>
                  <a:close/>
                  <a:moveTo>
                    <a:pt x="1328" y="2333"/>
                  </a:moveTo>
                  <a:lnTo>
                    <a:pt x="1328" y="2430"/>
                  </a:lnTo>
                  <a:lnTo>
                    <a:pt x="1328" y="2430"/>
                  </a:lnTo>
                  <a:lnTo>
                    <a:pt x="1321" y="2439"/>
                  </a:lnTo>
                  <a:lnTo>
                    <a:pt x="1313" y="2447"/>
                  </a:lnTo>
                  <a:lnTo>
                    <a:pt x="1308" y="2450"/>
                  </a:lnTo>
                  <a:lnTo>
                    <a:pt x="1303" y="2452"/>
                  </a:lnTo>
                  <a:lnTo>
                    <a:pt x="1298" y="2454"/>
                  </a:lnTo>
                  <a:lnTo>
                    <a:pt x="1291" y="2455"/>
                  </a:lnTo>
                  <a:lnTo>
                    <a:pt x="1291" y="2455"/>
                  </a:lnTo>
                  <a:lnTo>
                    <a:pt x="1284" y="2454"/>
                  </a:lnTo>
                  <a:lnTo>
                    <a:pt x="1277" y="2451"/>
                  </a:lnTo>
                  <a:lnTo>
                    <a:pt x="1271" y="2447"/>
                  </a:lnTo>
                  <a:lnTo>
                    <a:pt x="1265" y="2440"/>
                  </a:lnTo>
                  <a:lnTo>
                    <a:pt x="1259" y="2430"/>
                  </a:lnTo>
                  <a:lnTo>
                    <a:pt x="1255" y="2417"/>
                  </a:lnTo>
                  <a:lnTo>
                    <a:pt x="1253" y="2399"/>
                  </a:lnTo>
                  <a:lnTo>
                    <a:pt x="1252" y="2377"/>
                  </a:lnTo>
                  <a:lnTo>
                    <a:pt x="1252" y="2377"/>
                  </a:lnTo>
                  <a:lnTo>
                    <a:pt x="1253" y="2359"/>
                  </a:lnTo>
                  <a:lnTo>
                    <a:pt x="1255" y="2343"/>
                  </a:lnTo>
                  <a:lnTo>
                    <a:pt x="1259" y="2331"/>
                  </a:lnTo>
                  <a:lnTo>
                    <a:pt x="1265" y="2322"/>
                  </a:lnTo>
                  <a:lnTo>
                    <a:pt x="1271" y="2316"/>
                  </a:lnTo>
                  <a:lnTo>
                    <a:pt x="1277" y="2311"/>
                  </a:lnTo>
                  <a:lnTo>
                    <a:pt x="1284" y="2310"/>
                  </a:lnTo>
                  <a:lnTo>
                    <a:pt x="1291" y="2308"/>
                  </a:lnTo>
                  <a:lnTo>
                    <a:pt x="1291" y="2308"/>
                  </a:lnTo>
                  <a:lnTo>
                    <a:pt x="1298" y="2310"/>
                  </a:lnTo>
                  <a:lnTo>
                    <a:pt x="1304" y="2311"/>
                  </a:lnTo>
                  <a:lnTo>
                    <a:pt x="1309" y="2313"/>
                  </a:lnTo>
                  <a:lnTo>
                    <a:pt x="1314" y="2317"/>
                  </a:lnTo>
                  <a:lnTo>
                    <a:pt x="1319" y="2321"/>
                  </a:lnTo>
                  <a:lnTo>
                    <a:pt x="1322" y="2324"/>
                  </a:lnTo>
                  <a:lnTo>
                    <a:pt x="1328" y="2333"/>
                  </a:lnTo>
                  <a:lnTo>
                    <a:pt x="1328" y="2333"/>
                  </a:lnTo>
                  <a:close/>
                  <a:moveTo>
                    <a:pt x="885" y="2258"/>
                  </a:moveTo>
                  <a:lnTo>
                    <a:pt x="937" y="2258"/>
                  </a:lnTo>
                  <a:lnTo>
                    <a:pt x="937" y="2367"/>
                  </a:lnTo>
                  <a:lnTo>
                    <a:pt x="937" y="2505"/>
                  </a:lnTo>
                  <a:lnTo>
                    <a:pt x="885" y="2505"/>
                  </a:lnTo>
                  <a:lnTo>
                    <a:pt x="885" y="2258"/>
                  </a:lnTo>
                  <a:close/>
                  <a:moveTo>
                    <a:pt x="937" y="2192"/>
                  </a:moveTo>
                  <a:lnTo>
                    <a:pt x="937" y="2222"/>
                  </a:lnTo>
                  <a:lnTo>
                    <a:pt x="885" y="2222"/>
                  </a:lnTo>
                  <a:lnTo>
                    <a:pt x="885" y="2161"/>
                  </a:lnTo>
                  <a:lnTo>
                    <a:pt x="937" y="2161"/>
                  </a:lnTo>
                  <a:lnTo>
                    <a:pt x="937" y="2192"/>
                  </a:lnTo>
                  <a:close/>
                  <a:moveTo>
                    <a:pt x="2177" y="2186"/>
                  </a:moveTo>
                  <a:lnTo>
                    <a:pt x="2229" y="2155"/>
                  </a:lnTo>
                  <a:lnTo>
                    <a:pt x="2229" y="2379"/>
                  </a:lnTo>
                  <a:lnTo>
                    <a:pt x="2229" y="2505"/>
                  </a:lnTo>
                  <a:lnTo>
                    <a:pt x="2177" y="2505"/>
                  </a:lnTo>
                  <a:lnTo>
                    <a:pt x="2177" y="2186"/>
                  </a:lnTo>
                  <a:close/>
                  <a:moveTo>
                    <a:pt x="375" y="843"/>
                  </a:moveTo>
                  <a:lnTo>
                    <a:pt x="801" y="843"/>
                  </a:lnTo>
                  <a:lnTo>
                    <a:pt x="801" y="550"/>
                  </a:lnTo>
                  <a:lnTo>
                    <a:pt x="375" y="550"/>
                  </a:lnTo>
                  <a:lnTo>
                    <a:pt x="375" y="321"/>
                  </a:lnTo>
                  <a:lnTo>
                    <a:pt x="847" y="321"/>
                  </a:lnTo>
                  <a:lnTo>
                    <a:pt x="690" y="0"/>
                  </a:lnTo>
                  <a:lnTo>
                    <a:pt x="21" y="0"/>
                  </a:lnTo>
                  <a:lnTo>
                    <a:pt x="21" y="1394"/>
                  </a:lnTo>
                  <a:lnTo>
                    <a:pt x="965" y="1394"/>
                  </a:lnTo>
                  <a:lnTo>
                    <a:pt x="965" y="1073"/>
                  </a:lnTo>
                  <a:lnTo>
                    <a:pt x="375" y="1073"/>
                  </a:lnTo>
                  <a:lnTo>
                    <a:pt x="375" y="843"/>
                  </a:lnTo>
                  <a:close/>
                  <a:moveTo>
                    <a:pt x="1593" y="0"/>
                  </a:moveTo>
                  <a:lnTo>
                    <a:pt x="1393" y="455"/>
                  </a:lnTo>
                  <a:lnTo>
                    <a:pt x="1193" y="0"/>
                  </a:lnTo>
                  <a:lnTo>
                    <a:pt x="801" y="0"/>
                  </a:lnTo>
                  <a:lnTo>
                    <a:pt x="1214" y="843"/>
                  </a:lnTo>
                  <a:lnTo>
                    <a:pt x="1214" y="1394"/>
                  </a:lnTo>
                  <a:lnTo>
                    <a:pt x="1566" y="1394"/>
                  </a:lnTo>
                  <a:lnTo>
                    <a:pt x="1566" y="843"/>
                  </a:lnTo>
                  <a:lnTo>
                    <a:pt x="1979" y="0"/>
                  </a:lnTo>
                  <a:lnTo>
                    <a:pt x="159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755"/>
              <a:endParaRPr lang="en-IN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885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170"/>
            <a:ext cx="9875520" cy="36576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062750"/>
            <a:ext cx="9875520" cy="469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202188"/>
            <a:ext cx="987552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336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52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7840" y="1600204"/>
            <a:ext cx="484632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895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2196005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1440" y="2178008"/>
            <a:ext cx="485136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548640" y="1044000"/>
            <a:ext cx="987552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86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581440" y="1490400"/>
            <a:ext cx="485136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689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6736" y="1025531"/>
            <a:ext cx="987552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48640" y="6242400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68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lIns="91395" tIns="45699" rIns="91395" bIns="45699"/>
          <a:lstStyle/>
          <a:p>
            <a:r>
              <a:rPr lang="en-US" dirty="0" smtClean="0">
                <a:solidFill>
                  <a:srgbClr val="000000"/>
                </a:solidFill>
              </a:rPr>
              <a:t>Presentation titl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994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46736" y="6243638"/>
            <a:ext cx="987552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95" tIns="45699" rIns="91395" bIns="45699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6734" y="719139"/>
            <a:ext cx="4207680" cy="5210062"/>
          </a:xfrm>
        </p:spPr>
        <p:txBody>
          <a:bodyPr/>
          <a:lstStyle>
            <a:lvl1pPr marL="0" indent="0" algn="l" defTabSz="99521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87" indent="-176187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85" indent="-188885" algn="l" defTabSz="99521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943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593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extLst/>
          </p:nvPr>
        </p:nvGraphicFramePr>
        <p:xfrm>
          <a:off x="1632" y="1435"/>
          <a:ext cx="1627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318"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2" y="1435"/>
                        <a:ext cx="1627" cy="14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48729" y="6420507"/>
            <a:ext cx="796216" cy="19651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/>
          <a:p>
            <a:pPr defTabSz="91277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cs typeface="Arial" pitchFamily="34" charset="0"/>
              </a:rPr>
              <a:t>Page </a:t>
            </a:r>
            <a:fld id="{34F40E3D-8AD0-4EE0-8BC0-1D8ECFD53801}" type="slidenum">
              <a:rPr lang="en-US" sz="1100">
                <a:solidFill>
                  <a:srgbClr val="000000"/>
                </a:solidFill>
                <a:cs typeface="Arial" pitchFamily="34" charset="0"/>
              </a:rPr>
              <a:pPr defTabSz="91277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Line 11"/>
          <p:cNvSpPr>
            <a:spLocks noChangeShapeType="1"/>
          </p:cNvSpPr>
          <p:nvPr/>
        </p:nvSpPr>
        <p:spPr bwMode="auto">
          <a:xfrm>
            <a:off x="547094" y="6244065"/>
            <a:ext cx="9875357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xtLst/>
        </p:spPr>
        <p:txBody>
          <a:bodyPr wrap="none" lIns="90989" tIns="45509" rIns="90989" bIns="4550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46464"/>
              </a:solidFill>
            </a:endParaRPr>
          </a:p>
        </p:txBody>
      </p:sp>
      <p:sp>
        <p:nvSpPr>
          <p:cNvPr id="7" name="Line 12"/>
          <p:cNvSpPr>
            <a:spLocks noChangeShapeType="1"/>
          </p:cNvSpPr>
          <p:nvPr/>
        </p:nvSpPr>
        <p:spPr bwMode="auto">
          <a:xfrm>
            <a:off x="547094" y="199386"/>
            <a:ext cx="9875357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xtLst/>
        </p:spPr>
        <p:txBody>
          <a:bodyPr wrap="none" lIns="90989" tIns="45509" rIns="90989" bIns="4550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46464"/>
              </a:solidFill>
            </a:endParaRPr>
          </a:p>
        </p:txBody>
      </p:sp>
      <p:sp>
        <p:nvSpPr>
          <p:cNvPr id="11" name="Freeform 10"/>
          <p:cNvSpPr/>
          <p:nvPr userDrawn="1"/>
        </p:nvSpPr>
        <p:spPr bwMode="gray">
          <a:xfrm flipH="1">
            <a:off x="4" y="2614970"/>
            <a:ext cx="7818872" cy="1497543"/>
          </a:xfrm>
          <a:custGeom>
            <a:avLst/>
            <a:gdLst>
              <a:gd name="connsiteX0" fmla="*/ 85725 w 7705725"/>
              <a:gd name="connsiteY0" fmla="*/ 0 h 1704975"/>
              <a:gd name="connsiteX1" fmla="*/ 7705725 w 7705725"/>
              <a:gd name="connsiteY1" fmla="*/ 0 h 1704975"/>
              <a:gd name="connsiteX2" fmla="*/ 7705725 w 7705725"/>
              <a:gd name="connsiteY2" fmla="*/ 1704975 h 1704975"/>
              <a:gd name="connsiteX3" fmla="*/ 0 w 7705725"/>
              <a:gd name="connsiteY3" fmla="*/ 1704975 h 1704975"/>
              <a:gd name="connsiteX4" fmla="*/ 85725 w 7705725"/>
              <a:gd name="connsiteY4" fmla="*/ 0 h 1704975"/>
              <a:gd name="connsiteX0" fmla="*/ 0 w 7620000"/>
              <a:gd name="connsiteY0" fmla="*/ 0 h 1705429"/>
              <a:gd name="connsiteX1" fmla="*/ 7620000 w 7620000"/>
              <a:gd name="connsiteY1" fmla="*/ 0 h 1705429"/>
              <a:gd name="connsiteX2" fmla="*/ 7620000 w 7620000"/>
              <a:gd name="connsiteY2" fmla="*/ 1704975 h 1705429"/>
              <a:gd name="connsiteX3" fmla="*/ 329085 w 7620000"/>
              <a:gd name="connsiteY3" fmla="*/ 1705429 h 1705429"/>
              <a:gd name="connsiteX4" fmla="*/ 0 w 7620000"/>
              <a:gd name="connsiteY4" fmla="*/ 0 h 1705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0000" h="1705429">
                <a:moveTo>
                  <a:pt x="0" y="0"/>
                </a:moveTo>
                <a:lnTo>
                  <a:pt x="7620000" y="0"/>
                </a:lnTo>
                <a:lnTo>
                  <a:pt x="7620000" y="1704975"/>
                </a:lnTo>
                <a:lnTo>
                  <a:pt x="329085" y="170542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757" tIns="39874" rIns="79757" bIns="39874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 bwMode="gray">
          <a:xfrm>
            <a:off x="609266" y="2851746"/>
            <a:ext cx="6724376" cy="254067"/>
          </a:xfrm>
          <a:prstGeom prst="rect">
            <a:avLst/>
          </a:prstGeom>
        </p:spPr>
        <p:txBody>
          <a:bodyPr wrap="none" lIns="79640" tIns="39811" rIns="79640" bIns="39811" anchor="ctr" anchorCtr="0"/>
          <a:lstStyle>
            <a:lvl1pPr>
              <a:defRPr lang="en-US" sz="1200" b="1" kern="1200" dirty="0" smtClean="0">
                <a:solidFill>
                  <a:srgbClr val="FFE600"/>
                </a:solidFill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 bwMode="gray">
          <a:xfrm>
            <a:off x="606142" y="3131670"/>
            <a:ext cx="6727525" cy="708406"/>
          </a:xfrm>
          <a:prstGeom prst="rect">
            <a:avLst/>
          </a:prstGeom>
        </p:spPr>
        <p:txBody>
          <a:bodyPr lIns="79640" tIns="39811" rIns="79640" bIns="39811"/>
          <a:lstStyle>
            <a:lvl1pPr>
              <a:lnSpc>
                <a:spcPct val="90000"/>
              </a:lnSpc>
              <a:spcAft>
                <a:spcPts val="0"/>
              </a:spcAft>
              <a:defRPr lang="en-GB" sz="2600" b="1" kern="1200" dirty="0" smtClean="0">
                <a:solidFill>
                  <a:srgbClr val="FFFFFF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325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oleObject" Target="../embeddings/oleObject21.bin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ags" Target="../tags/tag22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vmlDrawing" Target="../drawings/vmlDrawing21.vml"/><Relationship Id="rId5" Type="http://schemas.openxmlformats.org/officeDocument/2006/relationships/slideLayout" Target="../slideLayouts/slideLayout95.xml"/><Relationship Id="rId15" Type="http://schemas.openxmlformats.org/officeDocument/2006/relationships/image" Target="../media/image2.png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vmlDrawing" Target="../drawings/vmlDrawing24.v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1.xml"/><Relationship Id="rId17" Type="http://schemas.openxmlformats.org/officeDocument/2006/relationships/image" Target="../media/image16.png"/><Relationship Id="rId2" Type="http://schemas.openxmlformats.org/officeDocument/2006/relationships/slideLayout" Target="../slideLayouts/slideLayout10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oleObject" Target="../embeddings/oleObject24.bin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tags" Target="../tags/tag2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vmlDrawing" Target="../drawings/vmlDrawing28.v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2.xml"/><Relationship Id="rId17" Type="http://schemas.openxmlformats.org/officeDocument/2006/relationships/image" Target="../media/image16.png"/><Relationship Id="rId2" Type="http://schemas.openxmlformats.org/officeDocument/2006/relationships/slideLayout" Target="../slideLayouts/slideLayout1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oleObject" Target="../embeddings/oleObject28.bin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tags" Target="../tags/tag2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vmlDrawing" Target="../drawings/vmlDrawing32.v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3.xml"/><Relationship Id="rId17" Type="http://schemas.openxmlformats.org/officeDocument/2006/relationships/image" Target="../media/image17.png"/><Relationship Id="rId2" Type="http://schemas.openxmlformats.org/officeDocument/2006/relationships/slideLayout" Target="../slideLayouts/slideLayout12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oleObject" Target="../embeddings/oleObject32.bin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tags" Target="../tags/tag3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vmlDrawing" Target="../drawings/vmlDrawing36.v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4.xml"/><Relationship Id="rId17" Type="http://schemas.openxmlformats.org/officeDocument/2006/relationships/image" Target="../media/image17.png"/><Relationship Id="rId2" Type="http://schemas.openxmlformats.org/officeDocument/2006/relationships/slideLayout" Target="../slideLayouts/slideLayout13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oleObject" Target="../embeddings/oleObject36.bin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tags" Target="../tags/tag3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vmlDrawing" Target="../drawings/vmlDrawing40.v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5.xml"/><Relationship Id="rId17" Type="http://schemas.openxmlformats.org/officeDocument/2006/relationships/image" Target="../media/image17.png"/><Relationship Id="rId2" Type="http://schemas.openxmlformats.org/officeDocument/2006/relationships/slideLayout" Target="../slideLayouts/slideLayout14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5" Type="http://schemas.openxmlformats.org/officeDocument/2006/relationships/oleObject" Target="../embeddings/oleObject40.bin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tags" Target="../tags/tag4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tags" Target="../tags/tag44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vmlDrawing" Target="../drawings/vmlDrawing44.vml"/><Relationship Id="rId2" Type="http://schemas.openxmlformats.org/officeDocument/2006/relationships/slideLayout" Target="../slideLayouts/slideLayout156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theme" Target="../theme/theme16.xml"/><Relationship Id="rId5" Type="http://schemas.openxmlformats.org/officeDocument/2006/relationships/slideLayout" Target="../slideLayouts/slideLayout15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oleObject" Target="../embeddings/oleObject44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heme" Target="../theme/theme4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0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image" Target="../media/image7.jpeg"/><Relationship Id="rId5" Type="http://schemas.openxmlformats.org/officeDocument/2006/relationships/slideLayout" Target="../slideLayouts/slideLayout45.xml"/><Relationship Id="rId15" Type="http://schemas.openxmlformats.org/officeDocument/2006/relationships/vmlDrawing" Target="../drawings/vmlDrawing7.v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0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heme" Target="../theme/theme5.xml"/><Relationship Id="rId22" Type="http://schemas.openxmlformats.org/officeDocument/2006/relationships/oleObject" Target="../embeddings/oleObject7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ags" Target="../tags/tag13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58.xml"/><Relationship Id="rId15" Type="http://schemas.openxmlformats.org/officeDocument/2006/relationships/image" Target="../media/image2.png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oleObject" Target="../embeddings/oleObject12.bin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tags" Target="../tags/tag15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vmlDrawing" Target="../drawings/vmlDrawing12.vml"/><Relationship Id="rId5" Type="http://schemas.openxmlformats.org/officeDocument/2006/relationships/slideLayout" Target="../slideLayouts/slideLayout67.xml"/><Relationship Id="rId15" Type="http://schemas.openxmlformats.org/officeDocument/2006/relationships/image" Target="../media/image2.png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oleObject" Target="../embeddings/oleObject15.bin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ags" Target="../tags/tag17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vmlDrawing" Target="../drawings/vmlDrawing15.vml"/><Relationship Id="rId5" Type="http://schemas.openxmlformats.org/officeDocument/2006/relationships/slideLayout" Target="../slideLayouts/slideLayout76.xml"/><Relationship Id="rId15" Type="http://schemas.openxmlformats.org/officeDocument/2006/relationships/image" Target="../media/image2.png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tags" Target="../tags/tag19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vmlDrawing" Target="../drawings/vmlDrawing18.vml"/><Relationship Id="rId2" Type="http://schemas.openxmlformats.org/officeDocument/2006/relationships/slideLayout" Target="../slideLayouts/slideLayout8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oleObject" Target="../embeddings/oleObject1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712481893"/>
              </p:ext>
            </p:extLst>
          </p:nvPr>
        </p:nvGraphicFramePr>
        <p:xfrm>
          <a:off x="1907" y="1591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44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907" y="1591"/>
                        <a:ext cx="190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05440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chemeClr val="bg1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</a:rPr>
              <a:pPr/>
              <a:t>‹#›</a:t>
            </a:fld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588259" y="640188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7" r:id="rId6"/>
    <p:sldLayoutId id="2147483678" r:id="rId7"/>
    <p:sldLayoutId id="2147483679" r:id="rId8"/>
    <p:sldLayoutId id="2147483764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909" y="1592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7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909" y="1592"/>
                        <a:ext cx="190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05440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588261" y="6401893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0320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  <p:sldLayoutId id="2147484029" r:id="rId4"/>
    <p:sldLayoutId id="2147484030" r:id="rId5"/>
    <p:sldLayoutId id="2147484031" r:id="rId6"/>
    <p:sldLayoutId id="2147484032" r:id="rId7"/>
    <p:sldLayoutId id="2147484033" r:id="rId8"/>
    <p:sldLayoutId id="2147484034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908" y="1592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34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908" y="1592"/>
                        <a:ext cx="190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05440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588260" y="6401891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4074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0" r:id="rId5"/>
    <p:sldLayoutId id="2147484041" r:id="rId6"/>
    <p:sldLayoutId id="2147484042" r:id="rId7"/>
    <p:sldLayoutId id="2147484043" r:id="rId8"/>
    <p:sldLayoutId id="2147484044" r:id="rId9"/>
    <p:sldLayoutId id="2147484045" r:id="rId10"/>
    <p:sldLayoutId id="2147484046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98751927"/>
              </p:ext>
            </p:extLst>
          </p:nvPr>
        </p:nvGraphicFramePr>
        <p:xfrm>
          <a:off x="1908" y="1592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1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908" y="1592"/>
                        <a:ext cx="190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05440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588260" y="6401891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1650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85461177"/>
              </p:ext>
            </p:extLst>
          </p:nvPr>
        </p:nvGraphicFramePr>
        <p:xfrm>
          <a:off x="1906" y="1592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3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906" y="1592"/>
                        <a:ext cx="190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9383430" y="6307551"/>
            <a:ext cx="1040731" cy="457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05440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588262" y="6401895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9429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  <p:sldLayoutId id="2147484064" r:id="rId5"/>
    <p:sldLayoutId id="2147484065" r:id="rId6"/>
    <p:sldLayoutId id="2147484066" r:id="rId7"/>
    <p:sldLayoutId id="2147484067" r:id="rId8"/>
    <p:sldLayoutId id="2147484068" r:id="rId9"/>
    <p:sldLayoutId id="2147484069" r:id="rId10"/>
    <p:sldLayoutId id="2147484070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46109563"/>
              </p:ext>
            </p:extLst>
          </p:nvPr>
        </p:nvGraphicFramePr>
        <p:xfrm>
          <a:off x="1906" y="1592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3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906" y="1592"/>
                        <a:ext cx="190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9383430" y="6307551"/>
            <a:ext cx="1040731" cy="457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05440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588262" y="6401895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3028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72184419"/>
              </p:ext>
            </p:extLst>
          </p:nvPr>
        </p:nvGraphicFramePr>
        <p:xfrm>
          <a:off x="1906" y="1592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83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906" y="1592"/>
                        <a:ext cx="190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9383430" y="6307551"/>
            <a:ext cx="1040731" cy="457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05440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588262" y="6401895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3147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  <p:sldLayoutId id="2147484085" r:id="rId2"/>
    <p:sldLayoutId id="2147484086" r:id="rId3"/>
    <p:sldLayoutId id="2147484087" r:id="rId4"/>
    <p:sldLayoutId id="2147484088" r:id="rId5"/>
    <p:sldLayoutId id="2147484089" r:id="rId6"/>
    <p:sldLayoutId id="2147484090" r:id="rId7"/>
    <p:sldLayoutId id="2147484091" r:id="rId8"/>
    <p:sldLayoutId id="2147484092" r:id="rId9"/>
    <p:sldLayoutId id="2147484093" r:id="rId10"/>
    <p:sldLayoutId id="2147484094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57363125"/>
              </p:ext>
            </p:extLst>
          </p:nvPr>
        </p:nvGraphicFramePr>
        <p:xfrm>
          <a:off x="1906" y="1589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4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906" y="1589"/>
                        <a:ext cx="190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9383429" y="6307551"/>
            <a:ext cx="1040731" cy="457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05440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588257" y="640188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6112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4" r:id="rId9"/>
    <p:sldLayoutId id="2147484105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06080" y="6415203"/>
            <a:ext cx="412128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4864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0018403" y="6450017"/>
            <a:ext cx="405764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074791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9" r:id="rId7"/>
    <p:sldLayoutId id="2147483720" r:id="rId8"/>
    <p:sldLayoutId id="2147483721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rgbClr val="80808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rgbClr val="808080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rgbClr val="808080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rgbClr val="808080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rgbClr val="808080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rgbClr val="808080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8640" y="201616"/>
            <a:ext cx="9875520" cy="86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48640" y="1425580"/>
            <a:ext cx="9875520" cy="469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1028" name="TextBox 6"/>
          <p:cNvSpPr txBox="1">
            <a:spLocks noChangeArrowheads="1"/>
          </p:cNvSpPr>
          <p:nvPr/>
        </p:nvSpPr>
        <p:spPr bwMode="auto">
          <a:xfrm>
            <a:off x="548645" y="6415094"/>
            <a:ext cx="86487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100" dirty="0" smtClean="0">
                <a:solidFill>
                  <a:srgbClr val="808080"/>
                </a:solidFill>
              </a:rPr>
              <a:t>Page </a:t>
            </a:r>
            <a:fld id="{3F71ACC7-47C8-4C00-A9E8-7A661EC5DC6F}" type="slidenum">
              <a:rPr lang="en-GB" altLang="en-US" sz="1100" smtClean="0">
                <a:solidFill>
                  <a:srgbClr val="80808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 sz="1100" dirty="0" smtClean="0">
              <a:solidFill>
                <a:srgbClr val="808080"/>
              </a:solidFill>
            </a:endParaRPr>
          </a:p>
        </p:txBody>
      </p:sp>
      <p:grpSp>
        <p:nvGrpSpPr>
          <p:cNvPr id="2" name="Group 7"/>
          <p:cNvGrpSpPr/>
          <p:nvPr/>
        </p:nvGrpSpPr>
        <p:grpSpPr bwMode="gray">
          <a:xfrm>
            <a:off x="10018401" y="6450019"/>
            <a:ext cx="405764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680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7" r:id="rId7"/>
    <p:sldLayoutId id="2147483888" r:id="rId8"/>
    <p:sldLayoutId id="2147483889" r:id="rId9"/>
    <p:sldLayoutId id="2147483890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5pPr>
      <a:lvl6pPr marL="457135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6pPr>
      <a:lvl7pPr marL="914269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7pPr>
      <a:lvl8pPr marL="1371404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8pPr>
      <a:lvl9pPr marL="1828539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851" indent="-342851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512" indent="-3539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759" indent="-3539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charset="0"/>
        <a:buChar char="►"/>
        <a:defRPr kern="1200">
          <a:solidFill>
            <a:schemeClr val="bg1"/>
          </a:solidFill>
          <a:latin typeface="+mn-lt"/>
          <a:ea typeface="+mn-ea"/>
          <a:cs typeface="+mn-cs"/>
        </a:defRPr>
      </a:lvl3pPr>
      <a:lvl4pPr marL="1433309" indent="-3555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7270" indent="-3539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241" indent="-228567" algn="l" defTabSz="91426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76" indent="-228567" algn="l" defTabSz="91426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11" indent="-228567" algn="l" defTabSz="91426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46" indent="-228567" algn="l" defTabSz="91426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9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4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39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4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09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4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78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82903582"/>
              </p:ext>
            </p:extLst>
          </p:nvPr>
        </p:nvGraphicFramePr>
        <p:xfrm>
          <a:off x="1907" y="1591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92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07" y="1591"/>
                        <a:ext cx="190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05440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588259" y="640188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618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4" r:id="rId6"/>
    <p:sldLayoutId id="2147483945" r:id="rId7"/>
    <p:sldLayoutId id="2147483946" r:id="rId8"/>
    <p:sldLayoutId id="2147483947" r:id="rId9"/>
    <p:sldLayoutId id="2147483949" r:id="rId10"/>
    <p:sldLayoutId id="2147483954" r:id="rId11"/>
    <p:sldLayoutId id="2147483951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34121002"/>
              </p:ext>
            </p:extLst>
          </p:nvPr>
        </p:nvGraphicFramePr>
        <p:xfrm>
          <a:off x="1687" y="1512"/>
          <a:ext cx="1680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72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687" y="1512"/>
                        <a:ext cx="1680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31160" y="148089"/>
            <a:ext cx="8745016" cy="834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8640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GB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>
          <a:xfrm>
            <a:off x="231166" y="1287062"/>
            <a:ext cx="10485565" cy="5095600"/>
          </a:xfrm>
          <a:prstGeom prst="rect">
            <a:avLst/>
          </a:prstGeom>
        </p:spPr>
        <p:txBody>
          <a:bodyPr vert="horz" lIns="44615" tIns="43586" rIns="44615" bIns="43586" rtlCol="0" anchor="t" anchorCtr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10188466" y="6721278"/>
            <a:ext cx="360926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 defTabSz="935534"/>
            <a:fld id="{BB69BBE8-4DB2-4642-B003-B220ACD5A2FD}" type="slidenum">
              <a:rPr lang="en-GB" sz="900" smtClean="0">
                <a:solidFill>
                  <a:srgbClr val="080808"/>
                </a:solidFill>
              </a:rPr>
              <a:pPr algn="r" defTabSz="935534"/>
              <a:t>‹#›</a:t>
            </a:fld>
            <a:endParaRPr lang="en-GB" sz="900" dirty="0" smtClean="0">
              <a:solidFill>
                <a:srgbClr val="080808"/>
              </a:solidFill>
            </a:endParaRPr>
          </a:p>
        </p:txBody>
      </p:sp>
      <p:sp>
        <p:nvSpPr>
          <p:cNvPr id="10" name="VCT_Marker_ID_10" hidden="1"/>
          <p:cNvSpPr/>
          <p:nvPr>
            <p:custDataLst>
              <p:tags r:id="rId18"/>
            </p:custDataLst>
          </p:nvPr>
        </p:nvSpPr>
        <p:spPr>
          <a:xfrm>
            <a:off x="1345120" y="120580"/>
            <a:ext cx="134512" cy="1205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35534"/>
            <a:endParaRPr lang="en-GB" sz="1900" dirty="0" smtClean="0">
              <a:solidFill>
                <a:srgbClr val="000000"/>
              </a:solidFill>
            </a:endParaRPr>
          </a:p>
        </p:txBody>
      </p:sp>
      <p:sp>
        <p:nvSpPr>
          <p:cNvPr id="12" name="VCT_Marker_ID_10" hidden="1"/>
          <p:cNvSpPr/>
          <p:nvPr>
            <p:custDataLst>
              <p:tags r:id="rId19"/>
            </p:custDataLst>
          </p:nvPr>
        </p:nvSpPr>
        <p:spPr>
          <a:xfrm>
            <a:off x="1345120" y="120580"/>
            <a:ext cx="134512" cy="1205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35534"/>
            <a:endParaRPr lang="en-GB" sz="1900" dirty="0" smtClean="0">
              <a:solidFill>
                <a:srgbClr val="000000"/>
              </a:solidFill>
            </a:endParaRPr>
          </a:p>
        </p:txBody>
      </p:sp>
      <p:sp>
        <p:nvSpPr>
          <p:cNvPr id="21" name="VCT_Marker_ID_10" hidden="1"/>
          <p:cNvSpPr/>
          <p:nvPr>
            <p:custDataLst>
              <p:tags r:id="rId20"/>
            </p:custDataLst>
          </p:nvPr>
        </p:nvSpPr>
        <p:spPr>
          <a:xfrm>
            <a:off x="1345120" y="120580"/>
            <a:ext cx="134512" cy="1205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35534"/>
            <a:endParaRPr lang="en-GB" sz="1900" dirty="0" smtClean="0">
              <a:solidFill>
                <a:srgbClr val="000000"/>
              </a:solidFill>
            </a:endParaRPr>
          </a:p>
        </p:txBody>
      </p:sp>
      <p:sp>
        <p:nvSpPr>
          <p:cNvPr id="25" name="VCT_Marker_ID_10" hidden="1"/>
          <p:cNvSpPr/>
          <p:nvPr>
            <p:custDataLst>
              <p:tags r:id="rId21"/>
            </p:custDataLst>
          </p:nvPr>
        </p:nvSpPr>
        <p:spPr>
          <a:xfrm>
            <a:off x="1345120" y="120580"/>
            <a:ext cx="134512" cy="1205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35534"/>
            <a:endParaRPr lang="en-GB" sz="1900" dirty="0" smtClean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206246" y="1082862"/>
            <a:ext cx="9417944" cy="63466"/>
          </a:xfrm>
          <a:prstGeom prst="rect">
            <a:avLst/>
          </a:prstGeom>
          <a:solidFill>
            <a:srgbClr val="009F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619" tIns="44619" rIns="44619" bIns="446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5534"/>
            <a:endParaRPr lang="en-GB" sz="1500" dirty="0" err="1" smtClean="0">
              <a:solidFill>
                <a:srgbClr val="08080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3169" y="33964"/>
            <a:ext cx="1240886" cy="1112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291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</p:sldLayoutIdLst>
  <p:timing>
    <p:tnLst>
      <p:par>
        <p:cTn id="1" dur="indefinite" restart="never" nodeType="tmRoot"/>
      </p:par>
    </p:tnLst>
  </p:timing>
  <p:txStyles>
    <p:titleStyle>
      <a:lvl1pPr algn="l" defTabSz="935534" rtl="0" eaLnBrk="1" latinLnBrk="0" hangingPunct="1">
        <a:spcBef>
          <a:spcPct val="0"/>
        </a:spcBef>
        <a:buNone/>
        <a:defRPr sz="27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94" marR="0" indent="-258794" algn="l" defTabSz="935287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5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n-ea"/>
          <a:cs typeface="+mn-cs"/>
        </a:defRPr>
      </a:lvl1pPr>
      <a:lvl2pPr marL="688653" marR="0" indent="-352651" algn="l" defTabSz="935287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500" kern="1200" baseline="0" noProof="1">
          <a:solidFill>
            <a:schemeClr val="tx1"/>
          </a:solidFill>
          <a:latin typeface="+mj-lt"/>
          <a:ea typeface="+mn-ea"/>
          <a:cs typeface="+mn-cs"/>
        </a:defRPr>
      </a:lvl2pPr>
      <a:lvl3pPr marL="1003392" marR="0" indent="-273928" algn="l" defTabSz="935287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5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386041" marR="0" indent="-200496" algn="l" defTabSz="93553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104953" indent="-233883" algn="l" defTabSz="935534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72720" indent="-233883" algn="l" defTabSz="93553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0488" indent="-233883" algn="l" defTabSz="93553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08256" indent="-233883" algn="l" defTabSz="93553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76022" indent="-233883" algn="l" defTabSz="93553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55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67768" algn="l" defTabSz="935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5534" algn="l" defTabSz="935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03302" algn="l" defTabSz="935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71069" algn="l" defTabSz="935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8837" algn="l" defTabSz="935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806604" algn="l" defTabSz="935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74370" algn="l" defTabSz="935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42138" algn="l" defTabSz="935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82509331"/>
              </p:ext>
            </p:extLst>
          </p:nvPr>
        </p:nvGraphicFramePr>
        <p:xfrm>
          <a:off x="1907" y="1591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9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907" y="1591"/>
                        <a:ext cx="190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05440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588259" y="640188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8703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47098809"/>
              </p:ext>
            </p:extLst>
          </p:nvPr>
        </p:nvGraphicFramePr>
        <p:xfrm>
          <a:off x="1907" y="1591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2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907" y="1591"/>
                        <a:ext cx="190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05440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588259" y="640188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7737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59302016"/>
              </p:ext>
            </p:extLst>
          </p:nvPr>
        </p:nvGraphicFramePr>
        <p:xfrm>
          <a:off x="1907" y="1591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90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907" y="1591"/>
                        <a:ext cx="190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05440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588259" y="640188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3098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  <p:sldLayoutId id="2147484012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84504928"/>
              </p:ext>
            </p:extLst>
          </p:nvPr>
        </p:nvGraphicFramePr>
        <p:xfrm>
          <a:off x="1907" y="1591"/>
          <a:ext cx="190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7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907" y="1591"/>
                        <a:ext cx="190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9383431" y="6307551"/>
            <a:ext cx="1040731" cy="457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054400" y="6415203"/>
            <a:ext cx="864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425600"/>
            <a:ext cx="987552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588259" y="640188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064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  <p:sldLayoutId id="2147484020" r:id="rId7"/>
    <p:sldLayoutId id="2147484021" r:id="rId8"/>
    <p:sldLayoutId id="2147484022" r:id="rId9"/>
    <p:sldLayoutId id="2147484023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263" rtl="0" eaLnBrk="1" latinLnBrk="0" hangingPunct="1">
        <a:lnSpc>
          <a:spcPct val="85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9" indent="-34284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950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7752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299" indent="-355548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258" indent="-353959" algn="l" defTabSz="91426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7" algn="l" defTabSz="914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2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7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059837" y="1478580"/>
            <a:ext cx="8704038" cy="648155"/>
          </a:xfrm>
        </p:spPr>
        <p:txBody>
          <a:bodyPr/>
          <a:lstStyle/>
          <a:p>
            <a:r>
              <a:rPr lang="en-US" sz="2500" dirty="0"/>
              <a:t>Procurement Transformation TOM Roll </a:t>
            </a:r>
            <a:r>
              <a:rPr lang="en-US" sz="2500" dirty="0" smtClean="0"/>
              <a:t>Out</a:t>
            </a:r>
            <a:r>
              <a:rPr lang="en-US" sz="2500" dirty="0"/>
              <a:t/>
            </a:r>
            <a:br>
              <a:rPr lang="en-US" sz="2500" dirty="0"/>
            </a:br>
            <a:endParaRPr lang="en-US" sz="2500" dirty="0"/>
          </a:p>
        </p:txBody>
      </p:sp>
      <p:sp>
        <p:nvSpPr>
          <p:cNvPr id="4" name="Subtitle 3"/>
          <p:cNvSpPr>
            <a:spLocks noGrp="1"/>
          </p:cNvSpPr>
          <p:nvPr>
            <p:ph type="body" sz="quarter" idx="10"/>
          </p:nvPr>
        </p:nvSpPr>
        <p:spPr>
          <a:xfrm>
            <a:off x="1059838" y="2420628"/>
            <a:ext cx="7896968" cy="260453"/>
          </a:xfrm>
        </p:spPr>
        <p:txBody>
          <a:bodyPr>
            <a:noAutofit/>
          </a:bodyPr>
          <a:lstStyle/>
          <a:p>
            <a:r>
              <a:rPr lang="en-US" dirty="0" smtClean="0"/>
              <a:t>UBN Category Structure</a:t>
            </a:r>
            <a:endParaRPr lang="en-US" dirty="0"/>
          </a:p>
        </p:txBody>
      </p:sp>
      <p:sp>
        <p:nvSpPr>
          <p:cNvPr id="5" name="Subtitle 3"/>
          <p:cNvSpPr>
            <a:spLocks noGrp="1"/>
          </p:cNvSpPr>
          <p:nvPr>
            <p:ph type="body" sz="quarter" idx="10"/>
          </p:nvPr>
        </p:nvSpPr>
        <p:spPr>
          <a:xfrm>
            <a:off x="1059838" y="2879164"/>
            <a:ext cx="7896968" cy="260453"/>
          </a:xfrm>
        </p:spPr>
        <p:txBody>
          <a:bodyPr>
            <a:noAutofit/>
          </a:bodyPr>
          <a:lstStyle/>
          <a:p>
            <a:r>
              <a:rPr lang="en-US" sz="1700" dirty="0"/>
              <a:t>1</a:t>
            </a:r>
            <a:r>
              <a:rPr lang="en-US" sz="1700" dirty="0" smtClean="0"/>
              <a:t> December, 2016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110789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029916"/>
              </p:ext>
            </p:extLst>
          </p:nvPr>
        </p:nvGraphicFramePr>
        <p:xfrm>
          <a:off x="1589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porate </a:t>
            </a:r>
            <a:r>
              <a:rPr lang="en-US" dirty="0" smtClean="0"/>
              <a:t>services </a:t>
            </a:r>
            <a:r>
              <a:rPr lang="en-US" dirty="0"/>
              <a:t>category: </a:t>
            </a:r>
            <a:r>
              <a:rPr lang="en-US" dirty="0" smtClean="0"/>
              <a:t>Professional services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867498" y="1375709"/>
            <a:ext cx="1033081" cy="43414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solidFill>
                  <a:srgbClr val="FFFFFF"/>
                </a:solidFill>
              </a:rPr>
              <a:t>Professional Servic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978986" y="2098075"/>
            <a:ext cx="836314" cy="43414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Consulting</a:t>
            </a:r>
          </a:p>
        </p:txBody>
      </p:sp>
      <p:cxnSp>
        <p:nvCxnSpPr>
          <p:cNvPr id="7" name="Elbow Connector 6"/>
          <p:cNvCxnSpPr>
            <a:stCxn id="4" idx="2"/>
            <a:endCxn id="5" idx="0"/>
          </p:cNvCxnSpPr>
          <p:nvPr/>
        </p:nvCxnSpPr>
        <p:spPr>
          <a:xfrm rot="5400000">
            <a:off x="3959792" y="678230"/>
            <a:ext cx="292620" cy="2555875"/>
          </a:xfrm>
          <a:prstGeom prst="bentConnector3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lbow Connector 7"/>
          <p:cNvCxnSpPr>
            <a:stCxn id="4" idx="2"/>
            <a:endCxn id="6" idx="0"/>
          </p:cNvCxnSpPr>
          <p:nvPr/>
        </p:nvCxnSpPr>
        <p:spPr>
          <a:xfrm rot="16200000" flipH="1">
            <a:off x="5246482" y="1947414"/>
            <a:ext cx="288218" cy="13104"/>
          </a:xfrm>
          <a:prstGeom prst="bentConnector3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2410007" y="3872573"/>
            <a:ext cx="836314" cy="4341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Insurance</a:t>
            </a:r>
          </a:p>
        </p:txBody>
      </p:sp>
      <p:cxnSp>
        <p:nvCxnSpPr>
          <p:cNvPr id="14" name="Elbow Connector 13"/>
          <p:cNvCxnSpPr>
            <a:stCxn id="5" idx="2"/>
            <a:endCxn id="10" idx="1"/>
          </p:cNvCxnSpPr>
          <p:nvPr/>
        </p:nvCxnSpPr>
        <p:spPr>
          <a:xfrm rot="5400000">
            <a:off x="2423484" y="2523158"/>
            <a:ext cx="391215" cy="418157"/>
          </a:xfrm>
          <a:prstGeom prst="bentConnector4">
            <a:avLst>
              <a:gd name="adj1" fmla="val 27125"/>
              <a:gd name="adj2" fmla="val 120500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/>
          <p:cNvCxnSpPr>
            <a:stCxn id="5" idx="2"/>
            <a:endCxn id="12" idx="1"/>
          </p:cNvCxnSpPr>
          <p:nvPr/>
        </p:nvCxnSpPr>
        <p:spPr>
          <a:xfrm rot="5400000">
            <a:off x="1842576" y="3104062"/>
            <a:ext cx="1553022" cy="418157"/>
          </a:xfrm>
          <a:prstGeom prst="bentConnector4">
            <a:avLst>
              <a:gd name="adj1" fmla="val 7439"/>
              <a:gd name="adj2" fmla="val 120500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4978986" y="3295702"/>
            <a:ext cx="836314" cy="4341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Financial Advisory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978986" y="2716308"/>
            <a:ext cx="836314" cy="4341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Management Consultancy Service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410007" y="3286025"/>
            <a:ext cx="836314" cy="4341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Tax Service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10007" y="2710766"/>
            <a:ext cx="836314" cy="4341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Audit Services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52" name="Elbow Connector 51"/>
          <p:cNvCxnSpPr>
            <a:endCxn id="11" idx="1"/>
          </p:cNvCxnSpPr>
          <p:nvPr/>
        </p:nvCxnSpPr>
        <p:spPr>
          <a:xfrm rot="5400000">
            <a:off x="1900241" y="2575173"/>
            <a:ext cx="1437701" cy="418158"/>
          </a:xfrm>
          <a:prstGeom prst="bentConnector4">
            <a:avLst>
              <a:gd name="adj1" fmla="val 39801"/>
              <a:gd name="adj2" fmla="val 120500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2410014" y="4405498"/>
            <a:ext cx="836314" cy="43414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Fixed Asset Acceptance service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663960" y="2097243"/>
            <a:ext cx="836314" cy="43414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Legal Services</a:t>
            </a:r>
            <a:endParaRPr lang="en-US" sz="800" dirty="0">
              <a:solidFill>
                <a:srgbClr val="FFFFFF"/>
              </a:solidFill>
            </a:endParaRPr>
          </a:p>
        </p:txBody>
      </p:sp>
      <p:cxnSp>
        <p:nvCxnSpPr>
          <p:cNvPr id="13" name="Elbow Connector 12"/>
          <p:cNvCxnSpPr>
            <a:endCxn id="31" idx="1"/>
          </p:cNvCxnSpPr>
          <p:nvPr/>
        </p:nvCxnSpPr>
        <p:spPr>
          <a:xfrm rot="5400000">
            <a:off x="4987486" y="2523724"/>
            <a:ext cx="401159" cy="418157"/>
          </a:xfrm>
          <a:prstGeom prst="bentConnector4">
            <a:avLst>
              <a:gd name="adj1" fmla="val 22944"/>
              <a:gd name="adj2" fmla="val 126269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32"/>
          <p:cNvCxnSpPr>
            <a:stCxn id="5" idx="2"/>
            <a:endCxn id="28" idx="1"/>
          </p:cNvCxnSpPr>
          <p:nvPr/>
        </p:nvCxnSpPr>
        <p:spPr>
          <a:xfrm rot="5400000">
            <a:off x="1576116" y="3370523"/>
            <a:ext cx="2085947" cy="418150"/>
          </a:xfrm>
          <a:prstGeom prst="bentConnector4">
            <a:avLst>
              <a:gd name="adj1" fmla="val 5296"/>
              <a:gd name="adj2" fmla="val 121026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/>
          <p:cNvCxnSpPr>
            <a:stCxn id="6" idx="2"/>
            <a:endCxn id="26" idx="1"/>
          </p:cNvCxnSpPr>
          <p:nvPr/>
        </p:nvCxnSpPr>
        <p:spPr>
          <a:xfrm rot="5400000">
            <a:off x="4697789" y="2813421"/>
            <a:ext cx="980553" cy="418157"/>
          </a:xfrm>
          <a:prstGeom prst="bentConnector4">
            <a:avLst>
              <a:gd name="adj1" fmla="val 9213"/>
              <a:gd name="adj2" fmla="val 125832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6273397" y="2097243"/>
            <a:ext cx="836314" cy="43414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Rating Agencies</a:t>
            </a:r>
          </a:p>
        </p:txBody>
      </p:sp>
      <p:cxnSp>
        <p:nvCxnSpPr>
          <p:cNvPr id="59" name="Elbow Connector 58"/>
          <p:cNvCxnSpPr>
            <a:stCxn id="4" idx="2"/>
            <a:endCxn id="49" idx="0"/>
          </p:cNvCxnSpPr>
          <p:nvPr/>
        </p:nvCxnSpPr>
        <p:spPr>
          <a:xfrm rot="16200000" flipH="1">
            <a:off x="5894103" y="1299792"/>
            <a:ext cx="287386" cy="1307515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2410007" y="2102477"/>
            <a:ext cx="836314" cy="43414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Financial</a:t>
            </a:r>
          </a:p>
        </p:txBody>
      </p:sp>
      <p:cxnSp>
        <p:nvCxnSpPr>
          <p:cNvPr id="9" name="Elbow Connector 8"/>
          <p:cNvCxnSpPr>
            <a:stCxn id="4" idx="2"/>
            <a:endCxn id="29" idx="0"/>
          </p:cNvCxnSpPr>
          <p:nvPr/>
        </p:nvCxnSpPr>
        <p:spPr>
          <a:xfrm rot="5400000">
            <a:off x="4589385" y="1302589"/>
            <a:ext cx="287386" cy="1301922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3453311" y="4326631"/>
            <a:ext cx="836314" cy="43414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Non-Regulatory Insuranc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453311" y="3807525"/>
            <a:ext cx="836314" cy="43414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Regulatory Insurance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22" name="Elbow Connector 21"/>
          <p:cNvCxnSpPr>
            <a:stCxn id="12" idx="3"/>
            <a:endCxn id="34" idx="1"/>
          </p:cNvCxnSpPr>
          <p:nvPr/>
        </p:nvCxnSpPr>
        <p:spPr>
          <a:xfrm flipV="1">
            <a:off x="3246321" y="4024599"/>
            <a:ext cx="206990" cy="65048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12" idx="3"/>
            <a:endCxn id="32" idx="1"/>
          </p:cNvCxnSpPr>
          <p:nvPr/>
        </p:nvCxnSpPr>
        <p:spPr>
          <a:xfrm>
            <a:off x="3246321" y="4089647"/>
            <a:ext cx="206990" cy="454058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7437449" y="2102481"/>
            <a:ext cx="836314" cy="43414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Risk &amp; Assurance Services</a:t>
            </a:r>
            <a:endParaRPr lang="en-US" sz="800" dirty="0">
              <a:solidFill>
                <a:srgbClr val="FFFFFF"/>
              </a:solidFill>
            </a:endParaRPr>
          </a:p>
        </p:txBody>
      </p:sp>
      <p:cxnSp>
        <p:nvCxnSpPr>
          <p:cNvPr id="27" name="Elbow Connector 26"/>
          <p:cNvCxnSpPr>
            <a:stCxn id="4" idx="2"/>
            <a:endCxn id="37" idx="0"/>
          </p:cNvCxnSpPr>
          <p:nvPr/>
        </p:nvCxnSpPr>
        <p:spPr>
          <a:xfrm rot="16200000" flipH="1">
            <a:off x="6473510" y="720385"/>
            <a:ext cx="292624" cy="2471567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8706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lty Services category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982057" y="1033547"/>
            <a:ext cx="836314" cy="434148"/>
          </a:xfrm>
          <a:prstGeom prst="rect">
            <a:avLst/>
          </a:prstGeom>
          <a:solidFill>
            <a:srgbClr val="336699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 smtClean="0">
                <a:solidFill>
                  <a:srgbClr val="FFFFFF"/>
                </a:solidFill>
              </a:rPr>
              <a:t>Realty Services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861296" y="1652588"/>
            <a:ext cx="836314" cy="434148"/>
          </a:xfrm>
          <a:prstGeom prst="rect">
            <a:avLst/>
          </a:prstGeom>
          <a:solidFill>
            <a:srgbClr val="7030A0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Property Occupat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4420457" y="1652588"/>
            <a:ext cx="836314" cy="434148"/>
          </a:xfrm>
          <a:prstGeom prst="rect">
            <a:avLst/>
          </a:prstGeom>
          <a:solidFill>
            <a:srgbClr val="7030A0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Project Improvement &amp; Equipment </a:t>
            </a:r>
          </a:p>
        </p:txBody>
      </p:sp>
      <p:sp>
        <p:nvSpPr>
          <p:cNvPr id="8" name="Rectangle 7"/>
          <p:cNvSpPr/>
          <p:nvPr/>
        </p:nvSpPr>
        <p:spPr>
          <a:xfrm>
            <a:off x="3223133" y="1652588"/>
            <a:ext cx="836314" cy="434148"/>
          </a:xfrm>
          <a:prstGeom prst="rect">
            <a:avLst/>
          </a:prstGeom>
          <a:solidFill>
            <a:srgbClr val="7030A0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Property Services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125594" y="3846159"/>
            <a:ext cx="836314" cy="434148"/>
          </a:xfrm>
          <a:prstGeom prst="rect">
            <a:avLst/>
          </a:prstGeom>
          <a:solidFill>
            <a:srgbClr val="D8D2E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Facility Water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221005" y="2239136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Brokerage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223133" y="2755252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Project </a:t>
            </a:r>
            <a:r>
              <a:rPr lang="en-US" sz="800" dirty="0" err="1">
                <a:solidFill>
                  <a:srgbClr val="000000"/>
                </a:solidFill>
              </a:rPr>
              <a:t>mg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20457" y="2247590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Construction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420457" y="2747681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Fit out</a:t>
            </a:r>
          </a:p>
        </p:txBody>
      </p:sp>
      <p:sp>
        <p:nvSpPr>
          <p:cNvPr id="27" name="Rectangle 26"/>
          <p:cNvSpPr/>
          <p:nvPr/>
        </p:nvSpPr>
        <p:spPr>
          <a:xfrm>
            <a:off x="4420457" y="3247772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Furnitur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4420457" y="4847488"/>
            <a:ext cx="836314" cy="434148"/>
          </a:xfrm>
          <a:prstGeom prst="rect">
            <a:avLst/>
          </a:prstGeom>
          <a:solidFill>
            <a:srgbClr val="D8D2E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rgbClr val="000000"/>
                </a:solidFill>
              </a:rPr>
              <a:t> Fixtures - office 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6859168" y="2239884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Ren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861296" y="2756000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Rate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43" name="Elbow Connector 42"/>
          <p:cNvCxnSpPr>
            <a:stCxn id="8" idx="2"/>
            <a:endCxn id="23" idx="1"/>
          </p:cNvCxnSpPr>
          <p:nvPr/>
        </p:nvCxnSpPr>
        <p:spPr>
          <a:xfrm rot="5400000">
            <a:off x="3246411" y="2061331"/>
            <a:ext cx="369474" cy="420286"/>
          </a:xfrm>
          <a:prstGeom prst="bentConnector4">
            <a:avLst>
              <a:gd name="adj1" fmla="val 20624"/>
              <a:gd name="adj2" fmla="val 131995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8" idx="2"/>
            <a:endCxn id="24" idx="1"/>
          </p:cNvCxnSpPr>
          <p:nvPr/>
        </p:nvCxnSpPr>
        <p:spPr>
          <a:xfrm rot="5400000">
            <a:off x="2989417" y="2320457"/>
            <a:ext cx="885590" cy="418157"/>
          </a:xfrm>
          <a:prstGeom prst="bentConnector4">
            <a:avLst>
              <a:gd name="adj1" fmla="val 8894"/>
              <a:gd name="adj2" fmla="val 132157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44"/>
          <p:cNvCxnSpPr>
            <a:stCxn id="7" idx="2"/>
            <a:endCxn id="25" idx="1"/>
          </p:cNvCxnSpPr>
          <p:nvPr/>
        </p:nvCxnSpPr>
        <p:spPr>
          <a:xfrm rot="5400000">
            <a:off x="4440571" y="2066626"/>
            <a:ext cx="377928" cy="418156"/>
          </a:xfrm>
          <a:prstGeom prst="bentConnector4">
            <a:avLst>
              <a:gd name="adj1" fmla="val 21281"/>
              <a:gd name="adj2" fmla="val 11921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/>
          <p:cNvCxnSpPr>
            <a:stCxn id="7" idx="2"/>
            <a:endCxn id="26" idx="1"/>
          </p:cNvCxnSpPr>
          <p:nvPr/>
        </p:nvCxnSpPr>
        <p:spPr>
          <a:xfrm rot="5400000">
            <a:off x="4190531" y="2316671"/>
            <a:ext cx="878019" cy="418156"/>
          </a:xfrm>
          <a:prstGeom prst="bentConnector4">
            <a:avLst>
              <a:gd name="adj1" fmla="val 8539"/>
              <a:gd name="adj2" fmla="val 119213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stCxn id="7" idx="2"/>
            <a:endCxn id="27" idx="1"/>
          </p:cNvCxnSpPr>
          <p:nvPr/>
        </p:nvCxnSpPr>
        <p:spPr>
          <a:xfrm rot="5400000">
            <a:off x="3940480" y="2566717"/>
            <a:ext cx="1378110" cy="418156"/>
          </a:xfrm>
          <a:prstGeom prst="bentConnector4">
            <a:avLst>
              <a:gd name="adj1" fmla="val 6021"/>
              <a:gd name="adj2" fmla="val 11921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7" idx="2"/>
            <a:endCxn id="59" idx="1"/>
          </p:cNvCxnSpPr>
          <p:nvPr/>
        </p:nvCxnSpPr>
        <p:spPr>
          <a:xfrm rot="5400000">
            <a:off x="3675053" y="2832144"/>
            <a:ext cx="1908964" cy="418156"/>
          </a:xfrm>
          <a:prstGeom prst="bentConnector4">
            <a:avLst>
              <a:gd name="adj1" fmla="val 4296"/>
              <a:gd name="adj2" fmla="val 118685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/>
          <p:cNvCxnSpPr>
            <a:stCxn id="5" idx="2"/>
            <a:endCxn id="33" idx="1"/>
          </p:cNvCxnSpPr>
          <p:nvPr/>
        </p:nvCxnSpPr>
        <p:spPr>
          <a:xfrm rot="5400000">
            <a:off x="6884200" y="2061705"/>
            <a:ext cx="370222" cy="420286"/>
          </a:xfrm>
          <a:prstGeom prst="bentConnector4">
            <a:avLst>
              <a:gd name="adj1" fmla="val 20683"/>
              <a:gd name="adj2" fmla="val 123892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/>
          <p:cNvCxnSpPr>
            <a:stCxn id="5" idx="2"/>
            <a:endCxn id="34" idx="1"/>
          </p:cNvCxnSpPr>
          <p:nvPr/>
        </p:nvCxnSpPr>
        <p:spPr>
          <a:xfrm rot="5400000">
            <a:off x="6627206" y="2320831"/>
            <a:ext cx="886338" cy="418157"/>
          </a:xfrm>
          <a:prstGeom prst="bentConnector4">
            <a:avLst>
              <a:gd name="adj1" fmla="val 8928"/>
              <a:gd name="adj2" fmla="val 12154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4420457" y="3778626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Fixtures &amp; Fittings</a:t>
            </a:r>
          </a:p>
        </p:txBody>
      </p:sp>
      <p:sp>
        <p:nvSpPr>
          <p:cNvPr id="60" name="Rectangle 59"/>
          <p:cNvSpPr/>
          <p:nvPr/>
        </p:nvSpPr>
        <p:spPr>
          <a:xfrm>
            <a:off x="4420457" y="4348167"/>
            <a:ext cx="836314" cy="434148"/>
          </a:xfrm>
          <a:prstGeom prst="rect">
            <a:avLst/>
          </a:prstGeom>
          <a:solidFill>
            <a:srgbClr val="D8D2E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Fixtures - residential </a:t>
            </a:r>
          </a:p>
        </p:txBody>
      </p:sp>
      <p:cxnSp>
        <p:nvCxnSpPr>
          <p:cNvPr id="61" name="Elbow Connector 60"/>
          <p:cNvCxnSpPr>
            <a:stCxn id="59" idx="2"/>
            <a:endCxn id="60" idx="1"/>
          </p:cNvCxnSpPr>
          <p:nvPr/>
        </p:nvCxnSpPr>
        <p:spPr>
          <a:xfrm rot="5400000">
            <a:off x="4453308" y="4179929"/>
            <a:ext cx="352467" cy="418157"/>
          </a:xfrm>
          <a:prstGeom prst="bentConnector4">
            <a:avLst>
              <a:gd name="adj1" fmla="val 19206"/>
              <a:gd name="adj2" fmla="val 115916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Elbow Connector 61"/>
          <p:cNvCxnSpPr>
            <a:stCxn id="59" idx="2"/>
            <a:endCxn id="28" idx="1"/>
          </p:cNvCxnSpPr>
          <p:nvPr/>
        </p:nvCxnSpPr>
        <p:spPr>
          <a:xfrm rot="5400000">
            <a:off x="4203642" y="4429594"/>
            <a:ext cx="851788" cy="418157"/>
          </a:xfrm>
          <a:prstGeom prst="bentConnector4">
            <a:avLst>
              <a:gd name="adj1" fmla="val 8722"/>
              <a:gd name="adj2" fmla="val 11591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/>
          <p:nvPr/>
        </p:nvSpPr>
        <p:spPr>
          <a:xfrm>
            <a:off x="1109527" y="1652588"/>
            <a:ext cx="836314" cy="434148"/>
          </a:xfrm>
          <a:prstGeom prst="rect">
            <a:avLst/>
          </a:prstGeom>
          <a:solidFill>
            <a:srgbClr val="7030A0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Property </a:t>
            </a:r>
            <a:r>
              <a:rPr lang="en-US" sz="800" dirty="0">
                <a:solidFill>
                  <a:srgbClr val="FFFFFF"/>
                </a:solidFill>
              </a:rPr>
              <a:t>Operations</a:t>
            </a:r>
          </a:p>
        </p:txBody>
      </p:sp>
      <p:sp>
        <p:nvSpPr>
          <p:cNvPr id="66" name="Rectangle 65"/>
          <p:cNvSpPr/>
          <p:nvPr/>
        </p:nvSpPr>
        <p:spPr>
          <a:xfrm>
            <a:off x="142337" y="2239136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Repairs &amp; Maintenance</a:t>
            </a:r>
          </a:p>
        </p:txBody>
      </p:sp>
      <p:sp>
        <p:nvSpPr>
          <p:cNvPr id="67" name="Rectangle 66"/>
          <p:cNvSpPr/>
          <p:nvPr/>
        </p:nvSpPr>
        <p:spPr>
          <a:xfrm>
            <a:off x="1109276" y="2247278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Security</a:t>
            </a:r>
          </a:p>
        </p:txBody>
      </p:sp>
      <p:sp>
        <p:nvSpPr>
          <p:cNvPr id="68" name="Rectangle 67"/>
          <p:cNvSpPr/>
          <p:nvPr/>
        </p:nvSpPr>
        <p:spPr>
          <a:xfrm>
            <a:off x="1131699" y="2842280"/>
            <a:ext cx="836314" cy="434148"/>
          </a:xfrm>
          <a:prstGeom prst="rect">
            <a:avLst/>
          </a:prstGeom>
          <a:solidFill>
            <a:srgbClr val="D8D2E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Facilities Security  Equipmen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1131699" y="3342371"/>
            <a:ext cx="836314" cy="434148"/>
          </a:xfrm>
          <a:prstGeom prst="rect">
            <a:avLst/>
          </a:prstGeom>
          <a:solidFill>
            <a:srgbClr val="D8D2E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Facilities Security Services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72" name="Elbow Connector 71"/>
          <p:cNvCxnSpPr>
            <a:stCxn id="67" idx="2"/>
            <a:endCxn id="68" idx="1"/>
          </p:cNvCxnSpPr>
          <p:nvPr/>
        </p:nvCxnSpPr>
        <p:spPr>
          <a:xfrm rot="5400000">
            <a:off x="1140602" y="2672524"/>
            <a:ext cx="377928" cy="395734"/>
          </a:xfrm>
          <a:prstGeom prst="bentConnector4">
            <a:avLst>
              <a:gd name="adj1" fmla="val 21281"/>
              <a:gd name="adj2" fmla="val 122373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Elbow Connector 72"/>
          <p:cNvCxnSpPr>
            <a:stCxn id="67" idx="2"/>
            <a:endCxn id="69" idx="1"/>
          </p:cNvCxnSpPr>
          <p:nvPr/>
        </p:nvCxnSpPr>
        <p:spPr>
          <a:xfrm rot="5400000">
            <a:off x="890562" y="2922569"/>
            <a:ext cx="878019" cy="395734"/>
          </a:xfrm>
          <a:prstGeom prst="bentConnector4">
            <a:avLst>
              <a:gd name="adj1" fmla="val 8539"/>
              <a:gd name="adj2" fmla="val 122373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/>
          <p:cNvSpPr/>
          <p:nvPr/>
        </p:nvSpPr>
        <p:spPr>
          <a:xfrm>
            <a:off x="142337" y="2842280"/>
            <a:ext cx="836314" cy="434148"/>
          </a:xfrm>
          <a:prstGeom prst="rect">
            <a:avLst/>
          </a:prstGeom>
          <a:solidFill>
            <a:srgbClr val="D8D2E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Furniture &amp; Fittings Repairs &amp; Maintenance</a:t>
            </a:r>
          </a:p>
        </p:txBody>
      </p:sp>
      <p:sp>
        <p:nvSpPr>
          <p:cNvPr id="80" name="Rectangle 79"/>
          <p:cNvSpPr/>
          <p:nvPr/>
        </p:nvSpPr>
        <p:spPr>
          <a:xfrm>
            <a:off x="142337" y="3342371"/>
            <a:ext cx="836314" cy="434148"/>
          </a:xfrm>
          <a:prstGeom prst="rect">
            <a:avLst/>
          </a:prstGeom>
          <a:solidFill>
            <a:srgbClr val="D8D2E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Mechanical &amp; Electrical Repairs &amp; Maintenance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142337" y="3842462"/>
            <a:ext cx="836314" cy="434148"/>
          </a:xfrm>
          <a:prstGeom prst="rect">
            <a:avLst/>
          </a:prstGeom>
          <a:solidFill>
            <a:srgbClr val="D8D2E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External &amp; Structural Repairs </a:t>
            </a:r>
            <a:r>
              <a:rPr lang="en-US" sz="700" dirty="0">
                <a:solidFill>
                  <a:srgbClr val="000000"/>
                </a:solidFill>
              </a:rPr>
              <a:t>&amp; Maintenance</a:t>
            </a:r>
          </a:p>
        </p:txBody>
      </p:sp>
      <p:sp>
        <p:nvSpPr>
          <p:cNvPr id="87" name="Rectangle 86"/>
          <p:cNvSpPr/>
          <p:nvPr/>
        </p:nvSpPr>
        <p:spPr>
          <a:xfrm>
            <a:off x="2125593" y="2239136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Facility Management Services &amp; Utilities</a:t>
            </a:r>
          </a:p>
        </p:txBody>
      </p:sp>
      <p:sp>
        <p:nvSpPr>
          <p:cNvPr id="88" name="Rectangle 87"/>
          <p:cNvSpPr/>
          <p:nvPr/>
        </p:nvSpPr>
        <p:spPr>
          <a:xfrm>
            <a:off x="2125593" y="2842280"/>
            <a:ext cx="836314" cy="434148"/>
          </a:xfrm>
          <a:prstGeom prst="rect">
            <a:avLst/>
          </a:prstGeom>
          <a:solidFill>
            <a:srgbClr val="D8D2E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Gen office cleaning </a:t>
            </a:r>
          </a:p>
        </p:txBody>
      </p:sp>
      <p:sp>
        <p:nvSpPr>
          <p:cNvPr id="89" name="Rectangle 88"/>
          <p:cNvSpPr/>
          <p:nvPr/>
        </p:nvSpPr>
        <p:spPr>
          <a:xfrm>
            <a:off x="2125593" y="3342371"/>
            <a:ext cx="836314" cy="434148"/>
          </a:xfrm>
          <a:prstGeom prst="rect">
            <a:avLst/>
          </a:prstGeom>
          <a:solidFill>
            <a:srgbClr val="D8D2E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Fumigation of office </a:t>
            </a:r>
          </a:p>
        </p:txBody>
      </p:sp>
      <p:sp>
        <p:nvSpPr>
          <p:cNvPr id="97" name="Rectangle 96"/>
          <p:cNvSpPr/>
          <p:nvPr/>
        </p:nvSpPr>
        <p:spPr>
          <a:xfrm>
            <a:off x="142337" y="4389007"/>
            <a:ext cx="836314" cy="434148"/>
          </a:xfrm>
          <a:prstGeom prst="rect">
            <a:avLst/>
          </a:prstGeom>
          <a:solidFill>
            <a:srgbClr val="D8D2E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Generator-Repairs &amp; Maintenance 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3221010" y="3279923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Cafeteria &amp; vending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3223138" y="3796039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Equipment Hire</a:t>
            </a:r>
          </a:p>
        </p:txBody>
      </p:sp>
      <p:sp>
        <p:nvSpPr>
          <p:cNvPr id="102" name="Rectangle 101"/>
          <p:cNvSpPr/>
          <p:nvPr/>
        </p:nvSpPr>
        <p:spPr>
          <a:xfrm>
            <a:off x="5629395" y="1652593"/>
            <a:ext cx="836314" cy="434148"/>
          </a:xfrm>
          <a:prstGeom prst="rect">
            <a:avLst/>
          </a:prstGeom>
          <a:solidFill>
            <a:srgbClr val="7030A0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Property Acquisition &amp; Disposal 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5627267" y="2239889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Property Disposal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5629395" y="2756005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Property Acquisition</a:t>
            </a:r>
          </a:p>
        </p:txBody>
      </p:sp>
      <p:cxnSp>
        <p:nvCxnSpPr>
          <p:cNvPr id="105" name="Elbow Connector 104"/>
          <p:cNvCxnSpPr>
            <a:stCxn id="102" idx="2"/>
            <a:endCxn id="103" idx="1"/>
          </p:cNvCxnSpPr>
          <p:nvPr/>
        </p:nvCxnSpPr>
        <p:spPr>
          <a:xfrm rot="5400000">
            <a:off x="5652299" y="2061710"/>
            <a:ext cx="370222" cy="420286"/>
          </a:xfrm>
          <a:prstGeom prst="bentConnector4">
            <a:avLst>
              <a:gd name="adj1" fmla="val 20683"/>
              <a:gd name="adj2" fmla="val 118241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Elbow Connector 105"/>
          <p:cNvCxnSpPr>
            <a:stCxn id="102" idx="2"/>
            <a:endCxn id="104" idx="1"/>
          </p:cNvCxnSpPr>
          <p:nvPr/>
        </p:nvCxnSpPr>
        <p:spPr>
          <a:xfrm rot="5400000">
            <a:off x="5395305" y="2320836"/>
            <a:ext cx="886338" cy="418157"/>
          </a:xfrm>
          <a:prstGeom prst="bentConnector4">
            <a:avLst>
              <a:gd name="adj1" fmla="val 8928"/>
              <a:gd name="adj2" fmla="val 118709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Elbow Connector 107"/>
          <p:cNvCxnSpPr>
            <a:stCxn id="66" idx="2"/>
            <a:endCxn id="79" idx="1"/>
          </p:cNvCxnSpPr>
          <p:nvPr/>
        </p:nvCxnSpPr>
        <p:spPr>
          <a:xfrm rot="5400000">
            <a:off x="158381" y="2657241"/>
            <a:ext cx="386070" cy="418157"/>
          </a:xfrm>
          <a:prstGeom prst="bentConnector4">
            <a:avLst>
              <a:gd name="adj1" fmla="val 21887"/>
              <a:gd name="adj2" fmla="val 114909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Elbow Connector 110"/>
          <p:cNvCxnSpPr>
            <a:stCxn id="66" idx="2"/>
            <a:endCxn id="80" idx="1"/>
          </p:cNvCxnSpPr>
          <p:nvPr/>
        </p:nvCxnSpPr>
        <p:spPr>
          <a:xfrm rot="5400000">
            <a:off x="-91664" y="2907286"/>
            <a:ext cx="886161" cy="418157"/>
          </a:xfrm>
          <a:prstGeom prst="bentConnector4">
            <a:avLst>
              <a:gd name="adj1" fmla="val 9610"/>
              <a:gd name="adj2" fmla="val 114909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Elbow Connector 114"/>
          <p:cNvCxnSpPr>
            <a:stCxn id="66" idx="2"/>
            <a:endCxn id="81" idx="1"/>
          </p:cNvCxnSpPr>
          <p:nvPr/>
        </p:nvCxnSpPr>
        <p:spPr>
          <a:xfrm rot="5400000">
            <a:off x="-341710" y="3157332"/>
            <a:ext cx="1386252" cy="418157"/>
          </a:xfrm>
          <a:prstGeom prst="bentConnector4">
            <a:avLst>
              <a:gd name="adj1" fmla="val 6191"/>
              <a:gd name="adj2" fmla="val 114909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Elbow Connector 118"/>
          <p:cNvCxnSpPr>
            <a:stCxn id="66" idx="2"/>
            <a:endCxn id="97" idx="1"/>
          </p:cNvCxnSpPr>
          <p:nvPr/>
        </p:nvCxnSpPr>
        <p:spPr>
          <a:xfrm rot="5400000">
            <a:off x="-614982" y="3430604"/>
            <a:ext cx="1932797" cy="418157"/>
          </a:xfrm>
          <a:prstGeom prst="bentConnector4">
            <a:avLst>
              <a:gd name="adj1" fmla="val 4447"/>
              <a:gd name="adj2" fmla="val 114909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Elbow Connector 122"/>
          <p:cNvCxnSpPr>
            <a:stCxn id="87" idx="2"/>
            <a:endCxn id="88" idx="1"/>
          </p:cNvCxnSpPr>
          <p:nvPr/>
        </p:nvCxnSpPr>
        <p:spPr>
          <a:xfrm rot="5400000">
            <a:off x="2141637" y="2657241"/>
            <a:ext cx="386070" cy="418157"/>
          </a:xfrm>
          <a:prstGeom prst="bentConnector4">
            <a:avLst>
              <a:gd name="adj1" fmla="val 21887"/>
              <a:gd name="adj2" fmla="val 120588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Elbow Connector 125"/>
          <p:cNvCxnSpPr>
            <a:stCxn id="87" idx="2"/>
            <a:endCxn id="89" idx="1"/>
          </p:cNvCxnSpPr>
          <p:nvPr/>
        </p:nvCxnSpPr>
        <p:spPr>
          <a:xfrm rot="5400000">
            <a:off x="1891592" y="2907286"/>
            <a:ext cx="886161" cy="418157"/>
          </a:xfrm>
          <a:prstGeom prst="bentConnector4">
            <a:avLst>
              <a:gd name="adj1" fmla="val 9610"/>
              <a:gd name="adj2" fmla="val 120589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Elbow Connector 129"/>
          <p:cNvCxnSpPr>
            <a:stCxn id="87" idx="2"/>
            <a:endCxn id="21" idx="1"/>
          </p:cNvCxnSpPr>
          <p:nvPr/>
        </p:nvCxnSpPr>
        <p:spPr>
          <a:xfrm rot="5400000">
            <a:off x="1639698" y="3159180"/>
            <a:ext cx="1389949" cy="418156"/>
          </a:xfrm>
          <a:prstGeom prst="bentConnector4">
            <a:avLst>
              <a:gd name="adj1" fmla="val 5428"/>
              <a:gd name="adj2" fmla="val 11929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Elbow Connector 148"/>
          <p:cNvCxnSpPr>
            <a:stCxn id="4" idx="2"/>
            <a:endCxn id="64" idx="0"/>
          </p:cNvCxnSpPr>
          <p:nvPr/>
        </p:nvCxnSpPr>
        <p:spPr>
          <a:xfrm rot="5400000">
            <a:off x="2871503" y="123876"/>
            <a:ext cx="184893" cy="2872530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Elbow Connector 150"/>
          <p:cNvCxnSpPr>
            <a:stCxn id="4" idx="2"/>
            <a:endCxn id="5" idx="0"/>
          </p:cNvCxnSpPr>
          <p:nvPr/>
        </p:nvCxnSpPr>
        <p:spPr>
          <a:xfrm rot="16200000" flipH="1">
            <a:off x="5747387" y="120521"/>
            <a:ext cx="184893" cy="2879239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Elbow Connector 152"/>
          <p:cNvCxnSpPr>
            <a:stCxn id="4" idx="2"/>
            <a:endCxn id="8" idx="0"/>
          </p:cNvCxnSpPr>
          <p:nvPr/>
        </p:nvCxnSpPr>
        <p:spPr>
          <a:xfrm rot="5400000">
            <a:off x="3928306" y="1180679"/>
            <a:ext cx="184893" cy="758924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Elbow Connector 154"/>
          <p:cNvCxnSpPr>
            <a:stCxn id="4" idx="2"/>
            <a:endCxn id="102" idx="0"/>
          </p:cNvCxnSpPr>
          <p:nvPr/>
        </p:nvCxnSpPr>
        <p:spPr>
          <a:xfrm rot="16200000" flipH="1">
            <a:off x="5131434" y="736475"/>
            <a:ext cx="184898" cy="1647338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Elbow Connector 156"/>
          <p:cNvCxnSpPr>
            <a:stCxn id="4" idx="2"/>
            <a:endCxn id="7" idx="0"/>
          </p:cNvCxnSpPr>
          <p:nvPr/>
        </p:nvCxnSpPr>
        <p:spPr>
          <a:xfrm rot="16200000" flipH="1">
            <a:off x="4526968" y="1340941"/>
            <a:ext cx="184893" cy="438400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Elbow Connector 158"/>
          <p:cNvCxnSpPr>
            <a:stCxn id="64" idx="2"/>
            <a:endCxn id="66" idx="0"/>
          </p:cNvCxnSpPr>
          <p:nvPr/>
        </p:nvCxnSpPr>
        <p:spPr>
          <a:xfrm rot="5400000">
            <a:off x="967889" y="1679341"/>
            <a:ext cx="152400" cy="967190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Elbow Connector 162"/>
          <p:cNvCxnSpPr>
            <a:stCxn id="64" idx="2"/>
            <a:endCxn id="67" idx="0"/>
          </p:cNvCxnSpPr>
          <p:nvPr/>
        </p:nvCxnSpPr>
        <p:spPr>
          <a:xfrm rot="5400000">
            <a:off x="1447288" y="2166882"/>
            <a:ext cx="160542" cy="251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Elbow Connector 164"/>
          <p:cNvCxnSpPr>
            <a:stCxn id="64" idx="2"/>
            <a:endCxn id="87" idx="0"/>
          </p:cNvCxnSpPr>
          <p:nvPr/>
        </p:nvCxnSpPr>
        <p:spPr>
          <a:xfrm rot="16200000" flipH="1">
            <a:off x="1959517" y="1654903"/>
            <a:ext cx="152400" cy="1016066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Elbow Connector 8"/>
          <p:cNvCxnSpPr>
            <a:stCxn id="8" idx="2"/>
            <a:endCxn id="100" idx="1"/>
          </p:cNvCxnSpPr>
          <p:nvPr/>
        </p:nvCxnSpPr>
        <p:spPr>
          <a:xfrm rot="5400000">
            <a:off x="2726020" y="2581726"/>
            <a:ext cx="1410261" cy="420280"/>
          </a:xfrm>
          <a:prstGeom prst="bentConnector4">
            <a:avLst>
              <a:gd name="adj1" fmla="val 6164"/>
              <a:gd name="adj2" fmla="val 132991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/>
          <p:cNvCxnSpPr>
            <a:stCxn id="8" idx="2"/>
            <a:endCxn id="101" idx="1"/>
          </p:cNvCxnSpPr>
          <p:nvPr/>
        </p:nvCxnSpPr>
        <p:spPr>
          <a:xfrm rot="5400000">
            <a:off x="2469026" y="2840848"/>
            <a:ext cx="1926377" cy="418152"/>
          </a:xfrm>
          <a:prstGeom prst="bentConnector4">
            <a:avLst>
              <a:gd name="adj1" fmla="val 3902"/>
              <a:gd name="adj2" fmla="val 133159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/>
          <p:cNvSpPr/>
          <p:nvPr/>
        </p:nvSpPr>
        <p:spPr>
          <a:xfrm>
            <a:off x="8939217" y="1652597"/>
            <a:ext cx="836314" cy="434148"/>
          </a:xfrm>
          <a:prstGeom prst="rect">
            <a:avLst/>
          </a:prstGeom>
          <a:solidFill>
            <a:srgbClr val="7030A0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Power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8942983" y="2247273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Power Audi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7926234" y="2247278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Power Systems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19" name="Elbow Connector 18"/>
          <p:cNvCxnSpPr>
            <a:stCxn id="78" idx="2"/>
            <a:endCxn id="90" idx="0"/>
          </p:cNvCxnSpPr>
          <p:nvPr/>
        </p:nvCxnSpPr>
        <p:spPr>
          <a:xfrm rot="5400000">
            <a:off x="8770617" y="1660520"/>
            <a:ext cx="160533" cy="1012983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78" idx="2"/>
            <a:endCxn id="86" idx="0"/>
          </p:cNvCxnSpPr>
          <p:nvPr/>
        </p:nvCxnSpPr>
        <p:spPr>
          <a:xfrm rot="16200000" flipH="1">
            <a:off x="9278993" y="2165126"/>
            <a:ext cx="160528" cy="3766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/>
          <p:cNvSpPr/>
          <p:nvPr/>
        </p:nvSpPr>
        <p:spPr>
          <a:xfrm>
            <a:off x="9980521" y="2239135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Power Equipment Installation &amp; Maintenance</a:t>
            </a:r>
          </a:p>
        </p:txBody>
      </p:sp>
      <p:cxnSp>
        <p:nvCxnSpPr>
          <p:cNvPr id="35" name="Elbow Connector 34"/>
          <p:cNvCxnSpPr>
            <a:stCxn id="78" idx="2"/>
            <a:endCxn id="93" idx="0"/>
          </p:cNvCxnSpPr>
          <p:nvPr/>
        </p:nvCxnSpPr>
        <p:spPr>
          <a:xfrm rot="16200000" flipH="1">
            <a:off x="9801831" y="1642288"/>
            <a:ext cx="152390" cy="1041304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/>
          <p:cNvSpPr/>
          <p:nvPr/>
        </p:nvSpPr>
        <p:spPr>
          <a:xfrm>
            <a:off x="7926234" y="2838887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Power Equipmen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7926234" y="3338978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Diesel Supply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7926234" y="3839069"/>
            <a:ext cx="836314" cy="434148"/>
          </a:xfrm>
          <a:prstGeom prst="rect">
            <a:avLst/>
          </a:prstGeom>
          <a:solidFill>
            <a:srgbClr val="C893C7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Electricity Bill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112" name="Elbow Connector 111"/>
          <p:cNvCxnSpPr>
            <a:endCxn id="107" idx="1"/>
          </p:cNvCxnSpPr>
          <p:nvPr/>
        </p:nvCxnSpPr>
        <p:spPr>
          <a:xfrm rot="5400000">
            <a:off x="7946348" y="2657923"/>
            <a:ext cx="377928" cy="418156"/>
          </a:xfrm>
          <a:prstGeom prst="bentConnector4">
            <a:avLst>
              <a:gd name="adj1" fmla="val 21281"/>
              <a:gd name="adj2" fmla="val 11921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Elbow Connector 112"/>
          <p:cNvCxnSpPr>
            <a:endCxn id="109" idx="1"/>
          </p:cNvCxnSpPr>
          <p:nvPr/>
        </p:nvCxnSpPr>
        <p:spPr>
          <a:xfrm rot="5400000">
            <a:off x="7696308" y="2907968"/>
            <a:ext cx="878019" cy="418156"/>
          </a:xfrm>
          <a:prstGeom prst="bentConnector4">
            <a:avLst>
              <a:gd name="adj1" fmla="val 8539"/>
              <a:gd name="adj2" fmla="val 119213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Elbow Connector 113"/>
          <p:cNvCxnSpPr>
            <a:endCxn id="110" idx="1"/>
          </p:cNvCxnSpPr>
          <p:nvPr/>
        </p:nvCxnSpPr>
        <p:spPr>
          <a:xfrm rot="5400000">
            <a:off x="7446257" y="3158014"/>
            <a:ext cx="1378110" cy="418156"/>
          </a:xfrm>
          <a:prstGeom prst="bentConnector4">
            <a:avLst>
              <a:gd name="adj1" fmla="val 6021"/>
              <a:gd name="adj2" fmla="val 11921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67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13" y="491222"/>
          <a:ext cx="1906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13" y="491222"/>
                        <a:ext cx="1906" cy="13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548640" y="201600"/>
            <a:ext cx="9875520" cy="365760"/>
          </a:xfrm>
        </p:spPr>
        <p:txBody>
          <a:bodyPr/>
          <a:lstStyle/>
          <a:p>
            <a:r>
              <a:rPr lang="en-US" dirty="0"/>
              <a:t>P</a:t>
            </a:r>
            <a:r>
              <a:rPr lang="en-US" dirty="0" smtClean="0"/>
              <a:t>rocurement spend category structure (Levels 1-3)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120051" y="1125573"/>
            <a:ext cx="10669872" cy="5678636"/>
            <a:chOff x="120051" y="1125573"/>
            <a:chExt cx="10669872" cy="5678636"/>
          </a:xfrm>
        </p:grpSpPr>
        <p:sp>
          <p:nvSpPr>
            <p:cNvPr id="14" name="Rectangle 13"/>
            <p:cNvSpPr/>
            <p:nvPr/>
          </p:nvSpPr>
          <p:spPr>
            <a:xfrm>
              <a:off x="4971009" y="1125573"/>
              <a:ext cx="1033081" cy="434148"/>
            </a:xfrm>
            <a:prstGeom prst="rect">
              <a:avLst/>
            </a:prstGeom>
            <a:solidFill>
              <a:srgbClr val="002060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dirty="0">
                  <a:solidFill>
                    <a:srgbClr val="FFFFFF"/>
                  </a:solidFill>
                </a:rPr>
                <a:t>UBN procurement spend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9758678" y="1864521"/>
              <a:ext cx="1031242" cy="434148"/>
            </a:xfrm>
            <a:prstGeom prst="rect">
              <a:avLst/>
            </a:prstGeom>
            <a:solidFill>
              <a:srgbClr val="336699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dirty="0" smtClean="0">
                  <a:solidFill>
                    <a:srgbClr val="FFFFFF"/>
                  </a:solidFill>
                </a:rPr>
                <a:t>Realty Services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0051" y="1864521"/>
              <a:ext cx="1031242" cy="434148"/>
            </a:xfrm>
            <a:prstGeom prst="rect">
              <a:avLst/>
            </a:prstGeom>
            <a:solidFill>
              <a:srgbClr val="336699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dirty="0">
                  <a:solidFill>
                    <a:srgbClr val="FFFFFF"/>
                  </a:solidFill>
                </a:rPr>
                <a:t>Technology</a:t>
              </a: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256032" y="2502154"/>
              <a:ext cx="932688" cy="434148"/>
            </a:xfrm>
            <a:prstGeom prst="rect">
              <a:avLst/>
            </a:prstGeom>
            <a:solidFill>
              <a:srgbClr val="7FD1D6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000000"/>
                  </a:solidFill>
                </a:rPr>
                <a:t> Hardware</a:t>
              </a: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256032" y="4688939"/>
              <a:ext cx="932688" cy="434148"/>
            </a:xfrm>
            <a:prstGeom prst="rect">
              <a:avLst/>
            </a:prstGeom>
            <a:solidFill>
              <a:srgbClr val="7FD1D6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000000"/>
                  </a:solidFill>
                </a:rPr>
                <a:t>Real Time Market Data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256032" y="4142242"/>
              <a:ext cx="932688" cy="434148"/>
            </a:xfrm>
            <a:prstGeom prst="rect">
              <a:avLst/>
            </a:prstGeom>
            <a:solidFill>
              <a:srgbClr val="7FD1D6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000000"/>
                  </a:solidFill>
                </a:rPr>
                <a:t>Services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58"/>
            <p:cNvSpPr/>
            <p:nvPr/>
          </p:nvSpPr>
          <p:spPr>
            <a:xfrm>
              <a:off x="256032" y="3595546"/>
              <a:ext cx="932688" cy="434148"/>
            </a:xfrm>
            <a:prstGeom prst="rect">
              <a:avLst/>
            </a:prstGeom>
            <a:solidFill>
              <a:srgbClr val="7FD1D6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000000"/>
                  </a:solidFill>
                </a:rPr>
                <a:t>Telecoms and Networks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256032" y="3048850"/>
              <a:ext cx="932688" cy="434148"/>
            </a:xfrm>
            <a:prstGeom prst="rect">
              <a:avLst/>
            </a:prstGeom>
            <a:solidFill>
              <a:srgbClr val="7FD1D6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000000"/>
                  </a:solidFill>
                </a:rPr>
                <a:t>Software</a:t>
              </a:r>
            </a:p>
          </p:txBody>
        </p:sp>
        <p:cxnSp>
          <p:nvCxnSpPr>
            <p:cNvPr id="85" name="Elbow Connector 84"/>
            <p:cNvCxnSpPr>
              <a:stCxn id="14" idx="2"/>
              <a:endCxn id="19" idx="0"/>
            </p:cNvCxnSpPr>
            <p:nvPr/>
          </p:nvCxnSpPr>
          <p:spPr>
            <a:xfrm rot="5400000">
              <a:off x="2909210" y="-713817"/>
              <a:ext cx="304800" cy="4851876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Elbow Connector 85"/>
            <p:cNvCxnSpPr>
              <a:stCxn id="14" idx="2"/>
              <a:endCxn id="17" idx="0"/>
            </p:cNvCxnSpPr>
            <p:nvPr/>
          </p:nvCxnSpPr>
          <p:spPr>
            <a:xfrm rot="16200000" flipH="1">
              <a:off x="7728523" y="-681255"/>
              <a:ext cx="304800" cy="4786751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Rectangle 90"/>
            <p:cNvSpPr/>
            <p:nvPr/>
          </p:nvSpPr>
          <p:spPr>
            <a:xfrm>
              <a:off x="9856142" y="2502154"/>
              <a:ext cx="933778" cy="434148"/>
            </a:xfrm>
            <a:prstGeom prst="rect">
              <a:avLst/>
            </a:prstGeom>
            <a:solidFill>
              <a:srgbClr val="7030A0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 Property Operations </a:t>
              </a: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9856142" y="4688939"/>
              <a:ext cx="933778" cy="434148"/>
            </a:xfrm>
            <a:prstGeom prst="rect">
              <a:avLst/>
            </a:prstGeom>
            <a:solidFill>
              <a:srgbClr val="7030A0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Property Occupation </a:t>
              </a: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9856142" y="4142242"/>
              <a:ext cx="933778" cy="434148"/>
            </a:xfrm>
            <a:prstGeom prst="rect">
              <a:avLst/>
            </a:prstGeom>
            <a:solidFill>
              <a:srgbClr val="7030A0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Property Acquisition &amp; Disposal </a:t>
              </a: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9856142" y="3595546"/>
              <a:ext cx="933778" cy="434148"/>
            </a:xfrm>
            <a:prstGeom prst="rect">
              <a:avLst/>
            </a:prstGeom>
            <a:solidFill>
              <a:srgbClr val="7030A0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Project Improvement &amp; </a:t>
              </a:r>
              <a:r>
                <a:rPr lang="en-US" sz="800" dirty="0" smtClean="0">
                  <a:solidFill>
                    <a:srgbClr val="FFFFFF"/>
                  </a:solidFill>
                </a:rPr>
                <a:t>Equipment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9856142" y="3048850"/>
              <a:ext cx="933778" cy="434148"/>
            </a:xfrm>
            <a:prstGeom prst="rect">
              <a:avLst/>
            </a:prstGeom>
            <a:solidFill>
              <a:srgbClr val="7030A0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Property Services </a:t>
              </a:r>
            </a:p>
          </p:txBody>
        </p:sp>
        <p:cxnSp>
          <p:nvCxnSpPr>
            <p:cNvPr id="9" name="Elbow Connector 8"/>
            <p:cNvCxnSpPr>
              <a:stCxn id="17" idx="2"/>
              <a:endCxn id="91" idx="1"/>
            </p:cNvCxnSpPr>
            <p:nvPr/>
          </p:nvCxnSpPr>
          <p:spPr>
            <a:xfrm rot="5400000">
              <a:off x="9854944" y="2299871"/>
              <a:ext cx="420559" cy="418157"/>
            </a:xfrm>
            <a:prstGeom prst="bentConnector4">
              <a:avLst>
                <a:gd name="adj1" fmla="val 24192"/>
                <a:gd name="adj2" fmla="val 137342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Elbow Connector 10"/>
            <p:cNvCxnSpPr>
              <a:stCxn id="17" idx="2"/>
              <a:endCxn id="95" idx="1"/>
            </p:cNvCxnSpPr>
            <p:nvPr/>
          </p:nvCxnSpPr>
          <p:spPr>
            <a:xfrm rot="5400000">
              <a:off x="9581596" y="2573219"/>
              <a:ext cx="967255" cy="418157"/>
            </a:xfrm>
            <a:prstGeom prst="bentConnector4">
              <a:avLst>
                <a:gd name="adj1" fmla="val 9691"/>
                <a:gd name="adj2" fmla="val 137342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Elbow Connector 20"/>
            <p:cNvCxnSpPr>
              <a:stCxn id="17" idx="2"/>
              <a:endCxn id="94" idx="1"/>
            </p:cNvCxnSpPr>
            <p:nvPr/>
          </p:nvCxnSpPr>
          <p:spPr>
            <a:xfrm rot="5400000">
              <a:off x="9308248" y="2846567"/>
              <a:ext cx="1513951" cy="418157"/>
            </a:xfrm>
            <a:prstGeom prst="bentConnector4">
              <a:avLst>
                <a:gd name="adj1" fmla="val 6592"/>
                <a:gd name="adj2" fmla="val 137342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Elbow Connector 36"/>
            <p:cNvCxnSpPr>
              <a:stCxn id="17" idx="2"/>
              <a:endCxn id="93" idx="1"/>
            </p:cNvCxnSpPr>
            <p:nvPr/>
          </p:nvCxnSpPr>
          <p:spPr>
            <a:xfrm rot="5400000">
              <a:off x="9034900" y="3119915"/>
              <a:ext cx="2060647" cy="418157"/>
            </a:xfrm>
            <a:prstGeom prst="bentConnector4">
              <a:avLst>
                <a:gd name="adj1" fmla="val 4455"/>
                <a:gd name="adj2" fmla="val 137342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Elbow Connector 119"/>
            <p:cNvCxnSpPr>
              <a:stCxn id="17" idx="2"/>
              <a:endCxn id="92" idx="1"/>
            </p:cNvCxnSpPr>
            <p:nvPr/>
          </p:nvCxnSpPr>
          <p:spPr>
            <a:xfrm rot="5400000">
              <a:off x="8761549" y="3393264"/>
              <a:ext cx="2607344" cy="418157"/>
            </a:xfrm>
            <a:prstGeom prst="bentConnector4">
              <a:avLst>
                <a:gd name="adj1" fmla="val 3753"/>
                <a:gd name="adj2" fmla="val 137342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Elbow Connector 124"/>
            <p:cNvCxnSpPr>
              <a:stCxn id="19" idx="2"/>
              <a:endCxn id="56" idx="1"/>
            </p:cNvCxnSpPr>
            <p:nvPr/>
          </p:nvCxnSpPr>
          <p:spPr>
            <a:xfrm rot="5400000">
              <a:off x="235576" y="2319130"/>
              <a:ext cx="420559" cy="379640"/>
            </a:xfrm>
            <a:prstGeom prst="bentConnector4">
              <a:avLst>
                <a:gd name="adj1" fmla="val 24192"/>
                <a:gd name="adj2" fmla="val 136685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Elbow Connector 127"/>
            <p:cNvCxnSpPr>
              <a:stCxn id="19" idx="2"/>
              <a:endCxn id="60" idx="1"/>
            </p:cNvCxnSpPr>
            <p:nvPr/>
          </p:nvCxnSpPr>
          <p:spPr>
            <a:xfrm rot="5400000">
              <a:off x="-37774" y="2592478"/>
              <a:ext cx="967255" cy="379640"/>
            </a:xfrm>
            <a:prstGeom prst="bentConnector4">
              <a:avLst>
                <a:gd name="adj1" fmla="val 9691"/>
                <a:gd name="adj2" fmla="val 136685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Elbow Connector 131"/>
            <p:cNvCxnSpPr>
              <a:stCxn id="19" idx="2"/>
              <a:endCxn id="59" idx="1"/>
            </p:cNvCxnSpPr>
            <p:nvPr/>
          </p:nvCxnSpPr>
          <p:spPr>
            <a:xfrm rot="5400000">
              <a:off x="-311122" y="2865826"/>
              <a:ext cx="1513951" cy="379640"/>
            </a:xfrm>
            <a:prstGeom prst="bentConnector4">
              <a:avLst>
                <a:gd name="adj1" fmla="val 6592"/>
                <a:gd name="adj2" fmla="val 136685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Elbow Connector 135"/>
            <p:cNvCxnSpPr>
              <a:stCxn id="19" idx="2"/>
              <a:endCxn id="58" idx="1"/>
            </p:cNvCxnSpPr>
            <p:nvPr/>
          </p:nvCxnSpPr>
          <p:spPr>
            <a:xfrm rot="5400000">
              <a:off x="-584470" y="3139174"/>
              <a:ext cx="2060647" cy="379640"/>
            </a:xfrm>
            <a:prstGeom prst="bentConnector4">
              <a:avLst>
                <a:gd name="adj1" fmla="val 4455"/>
                <a:gd name="adj2" fmla="val 136685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Elbow Connector 139"/>
            <p:cNvCxnSpPr>
              <a:stCxn id="19" idx="2"/>
              <a:endCxn id="57" idx="1"/>
            </p:cNvCxnSpPr>
            <p:nvPr/>
          </p:nvCxnSpPr>
          <p:spPr>
            <a:xfrm rot="5400000">
              <a:off x="-857819" y="3412523"/>
              <a:ext cx="2607344" cy="379640"/>
            </a:xfrm>
            <a:prstGeom prst="bentConnector4">
              <a:avLst>
                <a:gd name="adj1" fmla="val 3753"/>
                <a:gd name="adj2" fmla="val 136684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1" name="Rectangle 160"/>
            <p:cNvSpPr/>
            <p:nvPr/>
          </p:nvSpPr>
          <p:spPr>
            <a:xfrm>
              <a:off x="4991093" y="1864521"/>
              <a:ext cx="1031242" cy="434148"/>
            </a:xfrm>
            <a:prstGeom prst="rect">
              <a:avLst/>
            </a:prstGeom>
            <a:solidFill>
              <a:srgbClr val="336699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dirty="0">
                  <a:solidFill>
                    <a:srgbClr val="FFFFFF"/>
                  </a:solidFill>
                </a:rPr>
                <a:t>Corporate Services</a:t>
              </a: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3600527" y="2473103"/>
              <a:ext cx="836314" cy="434148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HR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63" name="Rectangle 162"/>
            <p:cNvSpPr/>
            <p:nvPr/>
          </p:nvSpPr>
          <p:spPr>
            <a:xfrm>
              <a:off x="5886319" y="2473103"/>
              <a:ext cx="836314" cy="434148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Marketing and </a:t>
              </a:r>
              <a:r>
                <a:rPr lang="en-US" sz="800" dirty="0" err="1">
                  <a:solidFill>
                    <a:srgbClr val="FFFFFF"/>
                  </a:solidFill>
                </a:rPr>
                <a:t>Comms</a:t>
              </a:r>
              <a:r>
                <a:rPr lang="en-US" sz="800" dirty="0">
                  <a:solidFill>
                    <a:srgbClr val="FFFFFF"/>
                  </a:solidFill>
                </a:rPr>
                <a:t>.</a:t>
              </a:r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4593541" y="2473103"/>
              <a:ext cx="836314" cy="434148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Travel and Hotel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65" name="Rectangle 164"/>
            <p:cNvSpPr/>
            <p:nvPr/>
          </p:nvSpPr>
          <p:spPr>
            <a:xfrm>
              <a:off x="8566249" y="2473103"/>
              <a:ext cx="836314" cy="434148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Professional Service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66" name="Rectangle 165"/>
            <p:cNvSpPr/>
            <p:nvPr/>
          </p:nvSpPr>
          <p:spPr>
            <a:xfrm>
              <a:off x="7285641" y="2473103"/>
              <a:ext cx="836314" cy="434148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Banking Operation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cxnSp>
          <p:nvCxnSpPr>
            <p:cNvPr id="167" name="Elbow Connector 166"/>
            <p:cNvCxnSpPr>
              <a:stCxn id="161" idx="2"/>
              <a:endCxn id="162" idx="0"/>
            </p:cNvCxnSpPr>
            <p:nvPr/>
          </p:nvCxnSpPr>
          <p:spPr>
            <a:xfrm rot="5400000">
              <a:off x="4675482" y="1641871"/>
              <a:ext cx="174434" cy="1488030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Elbow Connector 167"/>
            <p:cNvCxnSpPr>
              <a:stCxn id="161" idx="2"/>
              <a:endCxn id="165" idx="0"/>
            </p:cNvCxnSpPr>
            <p:nvPr/>
          </p:nvCxnSpPr>
          <p:spPr>
            <a:xfrm rot="16200000" flipH="1">
              <a:off x="7158343" y="647040"/>
              <a:ext cx="174434" cy="3477692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Elbow Connector 168"/>
            <p:cNvCxnSpPr>
              <a:stCxn id="161" idx="2"/>
              <a:endCxn id="164" idx="0"/>
            </p:cNvCxnSpPr>
            <p:nvPr/>
          </p:nvCxnSpPr>
          <p:spPr>
            <a:xfrm rot="5400000">
              <a:off x="5171989" y="2138378"/>
              <a:ext cx="174434" cy="495016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Elbow Connector 169"/>
            <p:cNvCxnSpPr>
              <a:stCxn id="161" idx="2"/>
              <a:endCxn id="166" idx="0"/>
            </p:cNvCxnSpPr>
            <p:nvPr/>
          </p:nvCxnSpPr>
          <p:spPr>
            <a:xfrm rot="16200000" flipH="1">
              <a:off x="6518039" y="1287344"/>
              <a:ext cx="174434" cy="2197084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Elbow Connector 170"/>
            <p:cNvCxnSpPr>
              <a:stCxn id="161" idx="2"/>
              <a:endCxn id="163" idx="0"/>
            </p:cNvCxnSpPr>
            <p:nvPr/>
          </p:nvCxnSpPr>
          <p:spPr>
            <a:xfrm rot="16200000" flipH="1">
              <a:off x="5818378" y="1987005"/>
              <a:ext cx="174434" cy="797762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3" name="Rectangle 172"/>
            <p:cNvSpPr/>
            <p:nvPr/>
          </p:nvSpPr>
          <p:spPr>
            <a:xfrm>
              <a:off x="3594247" y="3126832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Recruitment Agencie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3594247" y="4220224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Staff Welfare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75" name="Rectangle 174"/>
            <p:cNvSpPr/>
            <p:nvPr/>
          </p:nvSpPr>
          <p:spPr>
            <a:xfrm>
              <a:off x="3594247" y="3673528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Outsourced Staff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cxnSp>
          <p:nvCxnSpPr>
            <p:cNvPr id="176" name="Elbow Connector 175"/>
            <p:cNvCxnSpPr>
              <a:stCxn id="173" idx="1"/>
              <a:endCxn id="174" idx="1"/>
            </p:cNvCxnSpPr>
            <p:nvPr/>
          </p:nvCxnSpPr>
          <p:spPr>
            <a:xfrm rot="10800000" flipV="1">
              <a:off x="3594249" y="3343906"/>
              <a:ext cx="12700" cy="1093392"/>
            </a:xfrm>
            <a:prstGeom prst="bentConnector3">
              <a:avLst>
                <a:gd name="adj1" fmla="val 1019276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173" idx="1"/>
              <a:endCxn id="175" idx="1"/>
            </p:cNvCxnSpPr>
            <p:nvPr/>
          </p:nvCxnSpPr>
          <p:spPr>
            <a:xfrm rot="10800000" flipV="1">
              <a:off x="3594249" y="3343906"/>
              <a:ext cx="12700" cy="546696"/>
            </a:xfrm>
            <a:prstGeom prst="bentConnector3">
              <a:avLst>
                <a:gd name="adj1" fmla="val 1019276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Elbow Connector 177"/>
            <p:cNvCxnSpPr>
              <a:stCxn id="162" idx="2"/>
              <a:endCxn id="175" idx="1"/>
            </p:cNvCxnSpPr>
            <p:nvPr/>
          </p:nvCxnSpPr>
          <p:spPr>
            <a:xfrm rot="5400000">
              <a:off x="3314796" y="3186712"/>
              <a:ext cx="983351" cy="424436"/>
            </a:xfrm>
            <a:prstGeom prst="bentConnector4">
              <a:avLst>
                <a:gd name="adj1" fmla="val 13194"/>
                <a:gd name="adj2" fmla="val 127903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Rectangle 178"/>
            <p:cNvSpPr/>
            <p:nvPr/>
          </p:nvSpPr>
          <p:spPr>
            <a:xfrm>
              <a:off x="4593541" y="3126832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Business Travel &amp; Hotel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4593541" y="3673528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Non- Business </a:t>
              </a:r>
              <a:r>
                <a:rPr lang="en-US" sz="800" dirty="0">
                  <a:solidFill>
                    <a:srgbClr val="FFFFFF"/>
                  </a:solidFill>
                </a:rPr>
                <a:t>Travel &amp; Hotel</a:t>
              </a:r>
            </a:p>
          </p:txBody>
        </p:sp>
        <p:cxnSp>
          <p:nvCxnSpPr>
            <p:cNvPr id="181" name="Elbow Connector 180"/>
            <p:cNvCxnSpPr>
              <a:stCxn id="164" idx="2"/>
              <a:endCxn id="179" idx="1"/>
            </p:cNvCxnSpPr>
            <p:nvPr/>
          </p:nvCxnSpPr>
          <p:spPr>
            <a:xfrm rot="5400000">
              <a:off x="4584297" y="2916505"/>
              <a:ext cx="436655" cy="418157"/>
            </a:xfrm>
            <a:prstGeom prst="bentConnector4">
              <a:avLst>
                <a:gd name="adj1" fmla="val 30189"/>
                <a:gd name="adj2" fmla="val 123052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Elbow Connector 181"/>
            <p:cNvCxnSpPr>
              <a:stCxn id="164" idx="2"/>
              <a:endCxn id="180" idx="1"/>
            </p:cNvCxnSpPr>
            <p:nvPr/>
          </p:nvCxnSpPr>
          <p:spPr>
            <a:xfrm rot="5400000">
              <a:off x="4310949" y="3189853"/>
              <a:ext cx="983351" cy="418157"/>
            </a:xfrm>
            <a:prstGeom prst="bentConnector4">
              <a:avLst>
                <a:gd name="adj1" fmla="val 13194"/>
                <a:gd name="adj2" fmla="val 123052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3" name="Rectangle 182"/>
            <p:cNvSpPr/>
            <p:nvPr/>
          </p:nvSpPr>
          <p:spPr>
            <a:xfrm>
              <a:off x="7285641" y="3126834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Cash In Transit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85" name="Rectangle 184"/>
            <p:cNvSpPr/>
            <p:nvPr/>
          </p:nvSpPr>
          <p:spPr>
            <a:xfrm>
              <a:off x="7285641" y="4220226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Repairs &amp; Maintenance: Equipment</a:t>
              </a: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7285641" y="3673530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Core Banking Operations Equipment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cxnSp>
          <p:nvCxnSpPr>
            <p:cNvPr id="187" name="Elbow Connector 186"/>
            <p:cNvCxnSpPr>
              <a:stCxn id="166" idx="2"/>
              <a:endCxn id="183" idx="1"/>
            </p:cNvCxnSpPr>
            <p:nvPr/>
          </p:nvCxnSpPr>
          <p:spPr>
            <a:xfrm rot="5400000">
              <a:off x="7276397" y="2916506"/>
              <a:ext cx="436657" cy="418157"/>
            </a:xfrm>
            <a:prstGeom prst="bentConnector4">
              <a:avLst>
                <a:gd name="adj1" fmla="val 25144"/>
                <a:gd name="adj2" fmla="val 133591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Elbow Connector 187"/>
            <p:cNvCxnSpPr>
              <a:stCxn id="166" idx="2"/>
              <a:endCxn id="186" idx="1"/>
            </p:cNvCxnSpPr>
            <p:nvPr/>
          </p:nvCxnSpPr>
          <p:spPr>
            <a:xfrm rot="5400000">
              <a:off x="7003049" y="3189854"/>
              <a:ext cx="983353" cy="418157"/>
            </a:xfrm>
            <a:prstGeom prst="bentConnector4">
              <a:avLst>
                <a:gd name="adj1" fmla="val 10955"/>
                <a:gd name="adj2" fmla="val 133591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Elbow Connector 188"/>
            <p:cNvCxnSpPr>
              <a:stCxn id="166" idx="2"/>
              <a:endCxn id="185" idx="1"/>
            </p:cNvCxnSpPr>
            <p:nvPr/>
          </p:nvCxnSpPr>
          <p:spPr>
            <a:xfrm rot="5400000">
              <a:off x="6729701" y="3463202"/>
              <a:ext cx="1530049" cy="418157"/>
            </a:xfrm>
            <a:prstGeom prst="bentConnector4">
              <a:avLst>
                <a:gd name="adj1" fmla="val 6904"/>
                <a:gd name="adj2" fmla="val 133591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Elbow Connector 189"/>
            <p:cNvCxnSpPr>
              <a:stCxn id="166" idx="2"/>
            </p:cNvCxnSpPr>
            <p:nvPr/>
          </p:nvCxnSpPr>
          <p:spPr>
            <a:xfrm rot="5400000">
              <a:off x="6456353" y="3736550"/>
              <a:ext cx="2076745" cy="418157"/>
            </a:xfrm>
            <a:prstGeom prst="bentConnector4">
              <a:avLst>
                <a:gd name="adj1" fmla="val 4987"/>
                <a:gd name="adj2" fmla="val 133591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1" name="Rectangle 190"/>
            <p:cNvSpPr/>
            <p:nvPr/>
          </p:nvSpPr>
          <p:spPr>
            <a:xfrm>
              <a:off x="8566249" y="3126834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Financial</a:t>
              </a:r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8566249" y="3673530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Consulting</a:t>
              </a:r>
            </a:p>
          </p:txBody>
        </p:sp>
        <p:cxnSp>
          <p:nvCxnSpPr>
            <p:cNvPr id="193" name="Elbow Connector 192"/>
            <p:cNvCxnSpPr>
              <a:stCxn id="165" idx="2"/>
              <a:endCxn id="191" idx="1"/>
            </p:cNvCxnSpPr>
            <p:nvPr/>
          </p:nvCxnSpPr>
          <p:spPr>
            <a:xfrm rot="5400000">
              <a:off x="8557006" y="2916506"/>
              <a:ext cx="436657" cy="418157"/>
            </a:xfrm>
            <a:prstGeom prst="bentConnector4">
              <a:avLst>
                <a:gd name="adj1" fmla="val 25144"/>
                <a:gd name="adj2" fmla="val 133591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Elbow Connector 193"/>
            <p:cNvCxnSpPr>
              <a:stCxn id="165" idx="2"/>
              <a:endCxn id="192" idx="1"/>
            </p:cNvCxnSpPr>
            <p:nvPr/>
          </p:nvCxnSpPr>
          <p:spPr>
            <a:xfrm rot="5400000">
              <a:off x="8283658" y="3189854"/>
              <a:ext cx="983353" cy="418157"/>
            </a:xfrm>
            <a:prstGeom prst="bentConnector4">
              <a:avLst>
                <a:gd name="adj1" fmla="val 10955"/>
                <a:gd name="adj2" fmla="val 133591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5" name="Rectangle 194"/>
            <p:cNvSpPr/>
            <p:nvPr/>
          </p:nvSpPr>
          <p:spPr>
            <a:xfrm>
              <a:off x="3594246" y="4766922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Payroll Mgt. Service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cxnSp>
          <p:nvCxnSpPr>
            <p:cNvPr id="196" name="Elbow Connector 195"/>
            <p:cNvCxnSpPr>
              <a:stCxn id="162" idx="2"/>
              <a:endCxn id="195" idx="1"/>
            </p:cNvCxnSpPr>
            <p:nvPr/>
          </p:nvCxnSpPr>
          <p:spPr>
            <a:xfrm rot="5400000">
              <a:off x="2768099" y="3733406"/>
              <a:ext cx="2076745" cy="424438"/>
            </a:xfrm>
            <a:prstGeom prst="bentConnector4">
              <a:avLst>
                <a:gd name="adj1" fmla="val 6559"/>
                <a:gd name="adj2" fmla="val 129471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7" name="Rectangle 196"/>
            <p:cNvSpPr/>
            <p:nvPr/>
          </p:nvSpPr>
          <p:spPr>
            <a:xfrm>
              <a:off x="5811388" y="4220224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Subscription to Clubs</a:t>
              </a:r>
            </a:p>
          </p:txBody>
        </p:sp>
        <p:sp>
          <p:nvSpPr>
            <p:cNvPr id="198" name="Rectangle 197"/>
            <p:cNvSpPr/>
            <p:nvPr/>
          </p:nvSpPr>
          <p:spPr>
            <a:xfrm>
              <a:off x="5811388" y="3673528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Donations and Sponsorships</a:t>
              </a:r>
            </a:p>
          </p:txBody>
        </p:sp>
        <p:cxnSp>
          <p:nvCxnSpPr>
            <p:cNvPr id="199" name="Elbow Connector 198"/>
            <p:cNvCxnSpPr/>
            <p:nvPr/>
          </p:nvCxnSpPr>
          <p:spPr>
            <a:xfrm rot="10800000" flipV="1">
              <a:off x="5811392" y="3343906"/>
              <a:ext cx="12700" cy="1093392"/>
            </a:xfrm>
            <a:prstGeom prst="bentConnector3">
              <a:avLst>
                <a:gd name="adj1" fmla="val 1019276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Elbow Connector 199"/>
            <p:cNvCxnSpPr/>
            <p:nvPr/>
          </p:nvCxnSpPr>
          <p:spPr>
            <a:xfrm rot="10800000" flipV="1">
              <a:off x="5811392" y="3343906"/>
              <a:ext cx="12700" cy="546696"/>
            </a:xfrm>
            <a:prstGeom prst="bentConnector3">
              <a:avLst>
                <a:gd name="adj1" fmla="val 1019276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Elbow Connector 200"/>
            <p:cNvCxnSpPr>
              <a:stCxn id="163" idx="2"/>
              <a:endCxn id="198" idx="1"/>
            </p:cNvCxnSpPr>
            <p:nvPr/>
          </p:nvCxnSpPr>
          <p:spPr>
            <a:xfrm rot="5400000">
              <a:off x="5566260" y="3152384"/>
              <a:ext cx="983351" cy="493088"/>
            </a:xfrm>
            <a:prstGeom prst="bentConnector4">
              <a:avLst>
                <a:gd name="adj1" fmla="val 13602"/>
                <a:gd name="adj2" fmla="val 123843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2" name="Rectangle 201"/>
            <p:cNvSpPr/>
            <p:nvPr/>
          </p:nvSpPr>
          <p:spPr>
            <a:xfrm>
              <a:off x="5811388" y="3126832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Branding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203" name="Rectangle 202"/>
            <p:cNvSpPr/>
            <p:nvPr/>
          </p:nvSpPr>
          <p:spPr>
            <a:xfrm>
              <a:off x="2453123" y="2473106"/>
              <a:ext cx="836314" cy="434148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Office Services &amp; Supply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3606947" y="5308938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Training &amp; Development</a:t>
              </a:r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5811388" y="4740475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Customer/Market Research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5811388" y="5280852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Marketing Agencie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209" name="Rectangle 208"/>
            <p:cNvSpPr/>
            <p:nvPr/>
          </p:nvSpPr>
          <p:spPr>
            <a:xfrm>
              <a:off x="5823049" y="5787618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Corporate </a:t>
              </a:r>
              <a:r>
                <a:rPr lang="en-US" sz="800" dirty="0" smtClean="0">
                  <a:solidFill>
                    <a:srgbClr val="FFFFFF"/>
                  </a:solidFill>
                </a:rPr>
                <a:t>Gifts &amp; Business Promo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2440423" y="3126832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Printing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211" name="Rectangle 210"/>
            <p:cNvSpPr/>
            <p:nvPr/>
          </p:nvSpPr>
          <p:spPr>
            <a:xfrm>
              <a:off x="2440423" y="4220224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Office machine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212" name="Rectangle 211"/>
            <p:cNvSpPr/>
            <p:nvPr/>
          </p:nvSpPr>
          <p:spPr>
            <a:xfrm>
              <a:off x="2440423" y="3673528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Non-Printing Stationerie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213" name="Rectangle 212"/>
            <p:cNvSpPr/>
            <p:nvPr/>
          </p:nvSpPr>
          <p:spPr>
            <a:xfrm>
              <a:off x="2440422" y="4766922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800" dirty="0" smtClean="0">
                  <a:solidFill>
                    <a:srgbClr val="FFFFFF"/>
                  </a:solidFill>
                </a:rPr>
                <a:t>Newspapers &amp; related published material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214" name="Rectangle 213"/>
            <p:cNvSpPr/>
            <p:nvPr/>
          </p:nvSpPr>
          <p:spPr>
            <a:xfrm>
              <a:off x="2453123" y="5353470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Gen. Office Requirement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cxnSp>
          <p:nvCxnSpPr>
            <p:cNvPr id="216" name="Elbow Connector 215"/>
            <p:cNvCxnSpPr>
              <a:stCxn id="161" idx="2"/>
              <a:endCxn id="203" idx="0"/>
            </p:cNvCxnSpPr>
            <p:nvPr/>
          </p:nvCxnSpPr>
          <p:spPr>
            <a:xfrm rot="5400000">
              <a:off x="4101779" y="1068170"/>
              <a:ext cx="174437" cy="2635434"/>
            </a:xfrm>
            <a:prstGeom prst="bentConnector3">
              <a:avLst/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Elbow Connector 222"/>
            <p:cNvCxnSpPr>
              <a:stCxn id="203" idx="2"/>
              <a:endCxn id="210" idx="1"/>
            </p:cNvCxnSpPr>
            <p:nvPr/>
          </p:nvCxnSpPr>
          <p:spPr>
            <a:xfrm rot="5400000">
              <a:off x="2437526" y="2910154"/>
              <a:ext cx="436652" cy="430856"/>
            </a:xfrm>
            <a:prstGeom prst="bentConnector4">
              <a:avLst>
                <a:gd name="adj1" fmla="val 25143"/>
                <a:gd name="adj2" fmla="val 120671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Elbow Connector 226"/>
            <p:cNvCxnSpPr>
              <a:stCxn id="203" idx="2"/>
              <a:endCxn id="212" idx="1"/>
            </p:cNvCxnSpPr>
            <p:nvPr/>
          </p:nvCxnSpPr>
          <p:spPr>
            <a:xfrm rot="5400000">
              <a:off x="2164178" y="3183502"/>
              <a:ext cx="983348" cy="430856"/>
            </a:xfrm>
            <a:prstGeom prst="bentConnector4">
              <a:avLst>
                <a:gd name="adj1" fmla="val 11187"/>
                <a:gd name="adj2" fmla="val 120672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Elbow Connector 230"/>
            <p:cNvCxnSpPr>
              <a:stCxn id="203" idx="2"/>
              <a:endCxn id="211" idx="1"/>
            </p:cNvCxnSpPr>
            <p:nvPr/>
          </p:nvCxnSpPr>
          <p:spPr>
            <a:xfrm rot="5400000">
              <a:off x="1890830" y="3456850"/>
              <a:ext cx="1530044" cy="430856"/>
            </a:xfrm>
            <a:prstGeom prst="bentConnector4">
              <a:avLst>
                <a:gd name="adj1" fmla="val 7203"/>
                <a:gd name="adj2" fmla="val 123979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Elbow Connector 234"/>
            <p:cNvCxnSpPr>
              <a:stCxn id="203" idx="2"/>
              <a:endCxn id="213" idx="1"/>
            </p:cNvCxnSpPr>
            <p:nvPr/>
          </p:nvCxnSpPr>
          <p:spPr>
            <a:xfrm rot="5400000">
              <a:off x="1617480" y="3730196"/>
              <a:ext cx="2076742" cy="430858"/>
            </a:xfrm>
            <a:prstGeom prst="bentConnector4">
              <a:avLst>
                <a:gd name="adj1" fmla="val 5318"/>
                <a:gd name="adj2" fmla="val 123979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Elbow Connector 238"/>
            <p:cNvCxnSpPr>
              <a:stCxn id="203" idx="2"/>
              <a:endCxn id="214" idx="1"/>
            </p:cNvCxnSpPr>
            <p:nvPr/>
          </p:nvCxnSpPr>
          <p:spPr>
            <a:xfrm rot="5400000">
              <a:off x="1330557" y="4029822"/>
              <a:ext cx="2663290" cy="418157"/>
            </a:xfrm>
            <a:prstGeom prst="bentConnector4">
              <a:avLst>
                <a:gd name="adj1" fmla="val 3566"/>
                <a:gd name="adj2" fmla="val 124706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Elbow Connector 242"/>
            <p:cNvCxnSpPr>
              <a:stCxn id="163" idx="2"/>
              <a:endCxn id="207" idx="1"/>
            </p:cNvCxnSpPr>
            <p:nvPr/>
          </p:nvCxnSpPr>
          <p:spPr>
            <a:xfrm rot="5400000">
              <a:off x="5032784" y="3685858"/>
              <a:ext cx="2050298" cy="493088"/>
            </a:xfrm>
            <a:prstGeom prst="bentConnector4">
              <a:avLst>
                <a:gd name="adj1" fmla="val 6479"/>
                <a:gd name="adj2" fmla="val 123842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Elbow Connector 255"/>
            <p:cNvCxnSpPr>
              <a:stCxn id="163" idx="2"/>
              <a:endCxn id="208" idx="1"/>
            </p:cNvCxnSpPr>
            <p:nvPr/>
          </p:nvCxnSpPr>
          <p:spPr>
            <a:xfrm rot="5400000">
              <a:off x="4762598" y="3956045"/>
              <a:ext cx="2590675" cy="493088"/>
            </a:xfrm>
            <a:prstGeom prst="bentConnector4">
              <a:avLst>
                <a:gd name="adj1" fmla="val 5472"/>
                <a:gd name="adj2" fmla="val 123843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Elbow Connector 260"/>
            <p:cNvCxnSpPr>
              <a:stCxn id="163" idx="2"/>
            </p:cNvCxnSpPr>
            <p:nvPr/>
          </p:nvCxnSpPr>
          <p:spPr>
            <a:xfrm rot="5400000">
              <a:off x="4509215" y="4209429"/>
              <a:ext cx="3097441" cy="493088"/>
            </a:xfrm>
            <a:prstGeom prst="bentConnector4">
              <a:avLst>
                <a:gd name="adj1" fmla="val 4323"/>
                <a:gd name="adj2" fmla="val 123835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Elbow Connector 279"/>
            <p:cNvCxnSpPr>
              <a:endCxn id="161" idx="0"/>
            </p:cNvCxnSpPr>
            <p:nvPr/>
          </p:nvCxnSpPr>
          <p:spPr>
            <a:xfrm rot="16200000" flipH="1">
              <a:off x="5338378" y="1696188"/>
              <a:ext cx="304800" cy="31871"/>
            </a:xfrm>
            <a:prstGeom prst="bentConnector3">
              <a:avLst/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1" name="Rectangle 280"/>
            <p:cNvSpPr/>
            <p:nvPr/>
          </p:nvSpPr>
          <p:spPr>
            <a:xfrm>
              <a:off x="8566254" y="4264562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Rating Agencie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285" name="Rectangle 284"/>
            <p:cNvSpPr/>
            <p:nvPr/>
          </p:nvSpPr>
          <p:spPr>
            <a:xfrm>
              <a:off x="7285648" y="4790817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Records Management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cxnSp>
          <p:nvCxnSpPr>
            <p:cNvPr id="297" name="Elbow Connector 296"/>
            <p:cNvCxnSpPr>
              <a:stCxn id="162" idx="2"/>
              <a:endCxn id="205" idx="1"/>
            </p:cNvCxnSpPr>
            <p:nvPr/>
          </p:nvCxnSpPr>
          <p:spPr>
            <a:xfrm rot="5400000">
              <a:off x="2503438" y="4010762"/>
              <a:ext cx="2618761" cy="411737"/>
            </a:xfrm>
            <a:prstGeom prst="bentConnector4">
              <a:avLst>
                <a:gd name="adj1" fmla="val 5043"/>
                <a:gd name="adj2" fmla="val 135475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5" name="Elbow Connector 304"/>
            <p:cNvCxnSpPr>
              <a:stCxn id="165" idx="2"/>
              <a:endCxn id="281" idx="1"/>
            </p:cNvCxnSpPr>
            <p:nvPr/>
          </p:nvCxnSpPr>
          <p:spPr>
            <a:xfrm rot="5400000">
              <a:off x="7988140" y="3485367"/>
              <a:ext cx="1574385" cy="418152"/>
            </a:xfrm>
            <a:prstGeom prst="bentConnector4">
              <a:avLst>
                <a:gd name="adj1" fmla="val 6900"/>
                <a:gd name="adj2" fmla="val 131523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4" name="Rectangle 313"/>
            <p:cNvSpPr/>
            <p:nvPr/>
          </p:nvSpPr>
          <p:spPr>
            <a:xfrm>
              <a:off x="8574813" y="4839934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Legal Service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cxnSp>
          <p:nvCxnSpPr>
            <p:cNvPr id="316" name="Elbow Connector 315"/>
            <p:cNvCxnSpPr>
              <a:stCxn id="165" idx="2"/>
              <a:endCxn id="314" idx="1"/>
            </p:cNvCxnSpPr>
            <p:nvPr/>
          </p:nvCxnSpPr>
          <p:spPr>
            <a:xfrm rot="5400000">
              <a:off x="7704734" y="3777332"/>
              <a:ext cx="2149757" cy="409594"/>
            </a:xfrm>
            <a:prstGeom prst="bentConnector4">
              <a:avLst>
                <a:gd name="adj1" fmla="val 5116"/>
                <a:gd name="adj2" fmla="val 137207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Rectangle 103"/>
            <p:cNvSpPr/>
            <p:nvPr/>
          </p:nvSpPr>
          <p:spPr>
            <a:xfrm>
              <a:off x="256035" y="5233029"/>
              <a:ext cx="932688" cy="434148"/>
            </a:xfrm>
            <a:prstGeom prst="rect">
              <a:avLst/>
            </a:prstGeom>
            <a:solidFill>
              <a:srgbClr val="7FD1D6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000000"/>
                  </a:solidFill>
                </a:rPr>
                <a:t>Alternative Channels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  <p:cxnSp>
          <p:nvCxnSpPr>
            <p:cNvPr id="3" name="Elbow Connector 2"/>
            <p:cNvCxnSpPr>
              <a:stCxn id="19" idx="2"/>
              <a:endCxn id="104" idx="1"/>
            </p:cNvCxnSpPr>
            <p:nvPr/>
          </p:nvCxnSpPr>
          <p:spPr>
            <a:xfrm rot="5400000">
              <a:off x="-1129863" y="3684568"/>
              <a:ext cx="3151434" cy="379637"/>
            </a:xfrm>
            <a:prstGeom prst="bentConnector4">
              <a:avLst>
                <a:gd name="adj1" fmla="val 2845"/>
                <a:gd name="adj2" fmla="val 138318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Rectangle 105"/>
            <p:cNvSpPr/>
            <p:nvPr/>
          </p:nvSpPr>
          <p:spPr>
            <a:xfrm>
              <a:off x="2453126" y="5867400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 cap="flat" cmpd="sng" algn="ctr">
              <a:solidFill>
                <a:srgbClr val="808080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od &amp; Beverages</a:t>
              </a:r>
            </a:p>
          </p:txBody>
        </p:sp>
        <p:cxnSp>
          <p:nvCxnSpPr>
            <p:cNvPr id="5" name="Elbow Connector 4"/>
            <p:cNvCxnSpPr>
              <a:stCxn id="203" idx="2"/>
              <a:endCxn id="106" idx="1"/>
            </p:cNvCxnSpPr>
            <p:nvPr/>
          </p:nvCxnSpPr>
          <p:spPr>
            <a:xfrm rot="5400000">
              <a:off x="1073593" y="4286787"/>
              <a:ext cx="3177220" cy="418154"/>
            </a:xfrm>
            <a:prstGeom prst="bentConnector4">
              <a:avLst>
                <a:gd name="adj1" fmla="val 3232"/>
                <a:gd name="adj2" fmla="val 126989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Rectangle 118"/>
            <p:cNvSpPr/>
            <p:nvPr/>
          </p:nvSpPr>
          <p:spPr>
            <a:xfrm>
              <a:off x="2453126" y="6370061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Office Toiletrie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cxnSp>
          <p:nvCxnSpPr>
            <p:cNvPr id="22" name="Elbow Connector 21"/>
            <p:cNvCxnSpPr>
              <a:stCxn id="203" idx="2"/>
              <a:endCxn id="119" idx="1"/>
            </p:cNvCxnSpPr>
            <p:nvPr/>
          </p:nvCxnSpPr>
          <p:spPr>
            <a:xfrm rot="5400000">
              <a:off x="822263" y="4538117"/>
              <a:ext cx="3679881" cy="418154"/>
            </a:xfrm>
            <a:prstGeom prst="bentConnector4">
              <a:avLst>
                <a:gd name="adj1" fmla="val 2701"/>
                <a:gd name="adj2" fmla="val 126988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Rectangle 115"/>
            <p:cNvSpPr/>
            <p:nvPr/>
          </p:nvSpPr>
          <p:spPr>
            <a:xfrm>
              <a:off x="1423371" y="2481612"/>
              <a:ext cx="841248" cy="43891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FFFFFF"/>
                  </a:solidFill>
                </a:rPr>
                <a:t>Courier Services</a:t>
              </a:r>
            </a:p>
          </p:txBody>
        </p:sp>
        <p:cxnSp>
          <p:nvCxnSpPr>
            <p:cNvPr id="18" name="Elbow Connector 17"/>
            <p:cNvCxnSpPr>
              <a:stCxn id="161" idx="2"/>
              <a:endCxn id="116" idx="1"/>
            </p:cNvCxnSpPr>
            <p:nvPr/>
          </p:nvCxnSpPr>
          <p:spPr>
            <a:xfrm rot="5400000">
              <a:off x="3263844" y="458197"/>
              <a:ext cx="402399" cy="4083343"/>
            </a:xfrm>
            <a:prstGeom prst="bentConnector4">
              <a:avLst>
                <a:gd name="adj1" fmla="val 22731"/>
                <a:gd name="adj2" fmla="val 102891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Rectangle 122"/>
            <p:cNvSpPr/>
            <p:nvPr/>
          </p:nvSpPr>
          <p:spPr>
            <a:xfrm>
              <a:off x="1423372" y="3098527"/>
              <a:ext cx="841248" cy="43891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Fleet Management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1423371" y="3655892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Outsourced Fleet Service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1423371" y="4202588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Bank-owned Fleet Management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cxnSp>
          <p:nvCxnSpPr>
            <p:cNvPr id="25" name="Elbow Connector 24"/>
            <p:cNvCxnSpPr>
              <a:stCxn id="161" idx="2"/>
              <a:endCxn id="123" idx="1"/>
            </p:cNvCxnSpPr>
            <p:nvPr/>
          </p:nvCxnSpPr>
          <p:spPr>
            <a:xfrm rot="5400000">
              <a:off x="2955386" y="766655"/>
              <a:ext cx="1019314" cy="4083342"/>
            </a:xfrm>
            <a:prstGeom prst="bentConnector4">
              <a:avLst>
                <a:gd name="adj1" fmla="val 8675"/>
                <a:gd name="adj2" fmla="val 102891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Elbow Connector 29"/>
            <p:cNvCxnSpPr>
              <a:stCxn id="123" idx="2"/>
              <a:endCxn id="124" idx="1"/>
            </p:cNvCxnSpPr>
            <p:nvPr/>
          </p:nvCxnSpPr>
          <p:spPr>
            <a:xfrm rot="5400000">
              <a:off x="1465921" y="3494890"/>
              <a:ext cx="335527" cy="420625"/>
            </a:xfrm>
            <a:prstGeom prst="bentConnector4">
              <a:avLst>
                <a:gd name="adj1" fmla="val 17652"/>
                <a:gd name="adj2" fmla="val 123292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Elbow Connector 224"/>
            <p:cNvCxnSpPr>
              <a:stCxn id="123" idx="2"/>
              <a:endCxn id="126" idx="1"/>
            </p:cNvCxnSpPr>
            <p:nvPr/>
          </p:nvCxnSpPr>
          <p:spPr>
            <a:xfrm rot="5400000">
              <a:off x="1192573" y="3768238"/>
              <a:ext cx="882223" cy="420625"/>
            </a:xfrm>
            <a:prstGeom prst="bentConnector4">
              <a:avLst>
                <a:gd name="adj1" fmla="val 6945"/>
                <a:gd name="adj2" fmla="val 123292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Rectangle 141"/>
            <p:cNvSpPr/>
            <p:nvPr/>
          </p:nvSpPr>
          <p:spPr>
            <a:xfrm>
              <a:off x="8574815" y="5398668"/>
              <a:ext cx="836314" cy="434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Risk &amp; Assurance Services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cxnSp>
          <p:nvCxnSpPr>
            <p:cNvPr id="234" name="Elbow Connector 233"/>
            <p:cNvCxnSpPr>
              <a:stCxn id="165" idx="2"/>
              <a:endCxn id="142" idx="1"/>
            </p:cNvCxnSpPr>
            <p:nvPr/>
          </p:nvCxnSpPr>
          <p:spPr>
            <a:xfrm rot="5400000">
              <a:off x="7425366" y="4056701"/>
              <a:ext cx="2708491" cy="409591"/>
            </a:xfrm>
            <a:prstGeom prst="bentConnector4">
              <a:avLst>
                <a:gd name="adj1" fmla="val 3792"/>
                <a:gd name="adj2" fmla="val 136115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1" name="Rectangle 150"/>
            <p:cNvSpPr/>
            <p:nvPr/>
          </p:nvSpPr>
          <p:spPr>
            <a:xfrm>
              <a:off x="9856145" y="5244246"/>
              <a:ext cx="933778" cy="434148"/>
            </a:xfrm>
            <a:prstGeom prst="rect">
              <a:avLst/>
            </a:prstGeom>
            <a:solidFill>
              <a:srgbClr val="7030A0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 smtClean="0">
                  <a:solidFill>
                    <a:srgbClr val="FFFFFF"/>
                  </a:solidFill>
                </a:rPr>
                <a:t>Power</a:t>
              </a:r>
              <a:endParaRPr lang="en-US" sz="800" dirty="0">
                <a:solidFill>
                  <a:srgbClr val="FFFFFF"/>
                </a:solidFill>
              </a:endParaRPr>
            </a:p>
          </p:txBody>
        </p:sp>
        <p:cxnSp>
          <p:nvCxnSpPr>
            <p:cNvPr id="245" name="Elbow Connector 244"/>
            <p:cNvCxnSpPr>
              <a:stCxn id="17" idx="2"/>
              <a:endCxn id="151" idx="1"/>
            </p:cNvCxnSpPr>
            <p:nvPr/>
          </p:nvCxnSpPr>
          <p:spPr>
            <a:xfrm rot="5400000">
              <a:off x="8483897" y="3670917"/>
              <a:ext cx="3162651" cy="418154"/>
            </a:xfrm>
            <a:prstGeom prst="bentConnector4">
              <a:avLst>
                <a:gd name="adj1" fmla="val 3199"/>
                <a:gd name="adj2" fmla="val 138590"/>
              </a:avLst>
            </a:prstGeom>
            <a:ln w="9525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18671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8542844"/>
              </p:ext>
            </p:extLst>
          </p:nvPr>
        </p:nvGraphicFramePr>
        <p:xfrm>
          <a:off x="1913" y="491222"/>
          <a:ext cx="1906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6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13" y="491222"/>
                        <a:ext cx="1906" cy="13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ology category</a:t>
            </a:r>
            <a:endParaRPr lang="en-US" dirty="0"/>
          </a:p>
        </p:txBody>
      </p:sp>
      <p:sp>
        <p:nvSpPr>
          <p:cNvPr id="67" name="Rectangle 66"/>
          <p:cNvSpPr/>
          <p:nvPr/>
        </p:nvSpPr>
        <p:spPr>
          <a:xfrm>
            <a:off x="4873507" y="1226912"/>
            <a:ext cx="1239697" cy="434148"/>
          </a:xfrm>
          <a:prstGeom prst="rect">
            <a:avLst/>
          </a:prstGeom>
          <a:solidFill>
            <a:srgbClr val="00B0F0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900" dirty="0" smtClean="0">
                <a:solidFill>
                  <a:schemeClr val="tx1"/>
                </a:solidFill>
              </a:rPr>
              <a:t>Technology</a:t>
            </a:r>
          </a:p>
        </p:txBody>
      </p:sp>
      <p:sp>
        <p:nvSpPr>
          <p:cNvPr id="68" name="Rectangle 67"/>
          <p:cNvSpPr/>
          <p:nvPr/>
        </p:nvSpPr>
        <p:spPr>
          <a:xfrm>
            <a:off x="386147" y="1938346"/>
            <a:ext cx="1003577" cy="434148"/>
          </a:xfrm>
          <a:prstGeom prst="rect">
            <a:avLst/>
          </a:prstGeom>
          <a:solidFill>
            <a:srgbClr val="7FD1D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Hardware</a:t>
            </a:r>
          </a:p>
        </p:txBody>
      </p:sp>
      <p:sp>
        <p:nvSpPr>
          <p:cNvPr id="69" name="Rectangle 68"/>
          <p:cNvSpPr/>
          <p:nvPr/>
        </p:nvSpPr>
        <p:spPr>
          <a:xfrm>
            <a:off x="359706" y="2592076"/>
            <a:ext cx="1003577" cy="434148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Computer Components &amp; Accessorie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8978943" y="1953680"/>
            <a:ext cx="1003577" cy="434148"/>
          </a:xfrm>
          <a:prstGeom prst="rect">
            <a:avLst/>
          </a:prstGeom>
          <a:solidFill>
            <a:srgbClr val="7FD1D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>
                <a:solidFill>
                  <a:srgbClr val="000000"/>
                </a:solidFill>
              </a:rPr>
              <a:t>Alternative Channels</a:t>
            </a:r>
          </a:p>
        </p:txBody>
      </p:sp>
      <p:sp>
        <p:nvSpPr>
          <p:cNvPr id="72" name="Rectangle 71"/>
          <p:cNvSpPr/>
          <p:nvPr/>
        </p:nvSpPr>
        <p:spPr>
          <a:xfrm>
            <a:off x="359706" y="3138772"/>
            <a:ext cx="1003577" cy="434148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Computer Systems &amp; Storage Devices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75" name="Elbow Connector 74"/>
          <p:cNvCxnSpPr>
            <a:stCxn id="69" idx="1"/>
            <a:endCxn id="72" idx="1"/>
          </p:cNvCxnSpPr>
          <p:nvPr/>
        </p:nvCxnSpPr>
        <p:spPr>
          <a:xfrm rot="10800000" flipV="1">
            <a:off x="359705" y="2809150"/>
            <a:ext cx="15240" cy="546696"/>
          </a:xfrm>
          <a:prstGeom prst="bentConnector3">
            <a:avLst>
              <a:gd name="adj1" fmla="val 101927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/>
          <p:cNvSpPr/>
          <p:nvPr/>
        </p:nvSpPr>
        <p:spPr>
          <a:xfrm>
            <a:off x="1976406" y="1953680"/>
            <a:ext cx="1003577" cy="434148"/>
          </a:xfrm>
          <a:prstGeom prst="rect">
            <a:avLst/>
          </a:prstGeom>
          <a:solidFill>
            <a:srgbClr val="7FD1D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>
                <a:solidFill>
                  <a:srgbClr val="000000"/>
                </a:solidFill>
              </a:rPr>
              <a:t>Software</a:t>
            </a:r>
          </a:p>
        </p:txBody>
      </p:sp>
      <p:sp>
        <p:nvSpPr>
          <p:cNvPr id="77" name="Rectangle 76"/>
          <p:cNvSpPr/>
          <p:nvPr/>
        </p:nvSpPr>
        <p:spPr>
          <a:xfrm>
            <a:off x="1949965" y="2607410"/>
            <a:ext cx="1003577" cy="434148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Application Softwar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1949965" y="3154106"/>
            <a:ext cx="1003577" cy="434148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Operating Software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79" name="Elbow Connector 78"/>
          <p:cNvCxnSpPr>
            <a:stCxn id="77" idx="1"/>
            <a:endCxn id="78" idx="1"/>
          </p:cNvCxnSpPr>
          <p:nvPr/>
        </p:nvCxnSpPr>
        <p:spPr>
          <a:xfrm rot="10800000" flipV="1">
            <a:off x="1949965" y="2824484"/>
            <a:ext cx="15240" cy="546696"/>
          </a:xfrm>
          <a:prstGeom prst="bentConnector3">
            <a:avLst>
              <a:gd name="adj1" fmla="val 101927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/>
          <p:cNvSpPr/>
          <p:nvPr/>
        </p:nvSpPr>
        <p:spPr>
          <a:xfrm>
            <a:off x="3538836" y="1960295"/>
            <a:ext cx="1003577" cy="434148"/>
          </a:xfrm>
          <a:prstGeom prst="rect">
            <a:avLst/>
          </a:prstGeom>
          <a:solidFill>
            <a:srgbClr val="7FD1D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ICT </a:t>
            </a:r>
            <a:r>
              <a:rPr lang="en-US" sz="800" dirty="0">
                <a:solidFill>
                  <a:srgbClr val="000000"/>
                </a:solidFill>
              </a:rPr>
              <a:t>Services</a:t>
            </a:r>
          </a:p>
        </p:txBody>
      </p:sp>
      <p:sp>
        <p:nvSpPr>
          <p:cNvPr id="81" name="Rectangle 80"/>
          <p:cNvSpPr/>
          <p:nvPr/>
        </p:nvSpPr>
        <p:spPr>
          <a:xfrm>
            <a:off x="3512394" y="2614025"/>
            <a:ext cx="1003577" cy="434148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IT </a:t>
            </a:r>
            <a:r>
              <a:rPr lang="en-US" sz="800" dirty="0">
                <a:solidFill>
                  <a:srgbClr val="000000"/>
                </a:solidFill>
              </a:rPr>
              <a:t>Repair and Maintenance</a:t>
            </a:r>
          </a:p>
        </p:txBody>
      </p:sp>
      <p:sp>
        <p:nvSpPr>
          <p:cNvPr id="83" name="Rectangle 82"/>
          <p:cNvSpPr/>
          <p:nvPr/>
        </p:nvSpPr>
        <p:spPr>
          <a:xfrm>
            <a:off x="3512394" y="3160721"/>
            <a:ext cx="1003577" cy="434148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Telecoms Repair and Maintenance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85" name="Elbow Connector 84"/>
          <p:cNvCxnSpPr>
            <a:stCxn id="81" idx="1"/>
            <a:endCxn id="83" idx="1"/>
          </p:cNvCxnSpPr>
          <p:nvPr/>
        </p:nvCxnSpPr>
        <p:spPr>
          <a:xfrm rot="10800000" flipV="1">
            <a:off x="3512394" y="2831099"/>
            <a:ext cx="15240" cy="546696"/>
          </a:xfrm>
          <a:prstGeom prst="bentConnector3">
            <a:avLst>
              <a:gd name="adj1" fmla="val 101927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/>
          <p:cNvSpPr/>
          <p:nvPr/>
        </p:nvSpPr>
        <p:spPr>
          <a:xfrm>
            <a:off x="5104236" y="1960295"/>
            <a:ext cx="1003577" cy="434148"/>
          </a:xfrm>
          <a:prstGeom prst="rect">
            <a:avLst/>
          </a:prstGeom>
          <a:solidFill>
            <a:srgbClr val="7FD1D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Telecoms &amp; Network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5077794" y="2614025"/>
            <a:ext cx="1003577" cy="434148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>
                <a:solidFill>
                  <a:srgbClr val="000000"/>
                </a:solidFill>
              </a:rPr>
              <a:t>Network </a:t>
            </a:r>
            <a:r>
              <a:rPr lang="en-US" sz="800" dirty="0" smtClean="0">
                <a:solidFill>
                  <a:srgbClr val="000000"/>
                </a:solidFill>
              </a:rPr>
              <a:t>System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6500695" y="1953680"/>
            <a:ext cx="1003577" cy="434148"/>
          </a:xfrm>
          <a:prstGeom prst="rect">
            <a:avLst/>
          </a:prstGeom>
          <a:solidFill>
            <a:srgbClr val="7FD1D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Real Time Market Data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6474256" y="2614466"/>
            <a:ext cx="1003577" cy="434148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News Subscriptions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103" name="Elbow Connector 102"/>
          <p:cNvCxnSpPr>
            <a:stCxn id="76" idx="2"/>
            <a:endCxn id="78" idx="1"/>
          </p:cNvCxnSpPr>
          <p:nvPr/>
        </p:nvCxnSpPr>
        <p:spPr>
          <a:xfrm rot="5400000">
            <a:off x="1722405" y="2615393"/>
            <a:ext cx="983352" cy="528229"/>
          </a:xfrm>
          <a:prstGeom prst="bentConnector4">
            <a:avLst>
              <a:gd name="adj1" fmla="val 11673"/>
              <a:gd name="adj2" fmla="val 12709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104"/>
          <p:cNvCxnSpPr>
            <a:stCxn id="80" idx="2"/>
            <a:endCxn id="83" idx="1"/>
          </p:cNvCxnSpPr>
          <p:nvPr/>
        </p:nvCxnSpPr>
        <p:spPr>
          <a:xfrm rot="5400000">
            <a:off x="3284833" y="2622008"/>
            <a:ext cx="983352" cy="528229"/>
          </a:xfrm>
          <a:prstGeom prst="bentConnector4">
            <a:avLst>
              <a:gd name="adj1" fmla="val 9651"/>
              <a:gd name="adj2" fmla="val 12709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Elbow Connector 107"/>
          <p:cNvCxnSpPr>
            <a:stCxn id="67" idx="2"/>
            <a:endCxn id="68" idx="0"/>
          </p:cNvCxnSpPr>
          <p:nvPr/>
        </p:nvCxnSpPr>
        <p:spPr>
          <a:xfrm rot="5400000">
            <a:off x="3052003" y="-503007"/>
            <a:ext cx="277286" cy="460542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Elbow Connector 109"/>
          <p:cNvCxnSpPr>
            <a:stCxn id="67" idx="2"/>
            <a:endCxn id="76" idx="0"/>
          </p:cNvCxnSpPr>
          <p:nvPr/>
        </p:nvCxnSpPr>
        <p:spPr>
          <a:xfrm rot="5400000">
            <a:off x="3839466" y="299790"/>
            <a:ext cx="292620" cy="301516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Elbow Connector 110"/>
          <p:cNvCxnSpPr>
            <a:stCxn id="67" idx="2"/>
            <a:endCxn id="92" idx="0"/>
          </p:cNvCxnSpPr>
          <p:nvPr/>
        </p:nvCxnSpPr>
        <p:spPr>
          <a:xfrm rot="16200000" flipH="1">
            <a:off x="6101610" y="1052806"/>
            <a:ext cx="292620" cy="1509128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Elbow Connector 111"/>
          <p:cNvCxnSpPr>
            <a:stCxn id="67" idx="2"/>
            <a:endCxn id="86" idx="0"/>
          </p:cNvCxnSpPr>
          <p:nvPr/>
        </p:nvCxnSpPr>
        <p:spPr>
          <a:xfrm rot="16200000" flipH="1">
            <a:off x="5400073" y="1754342"/>
            <a:ext cx="299235" cy="112669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Elbow Connector 112"/>
          <p:cNvCxnSpPr>
            <a:stCxn id="67" idx="2"/>
            <a:endCxn id="80" idx="0"/>
          </p:cNvCxnSpPr>
          <p:nvPr/>
        </p:nvCxnSpPr>
        <p:spPr>
          <a:xfrm rot="5400000">
            <a:off x="4617374" y="1084312"/>
            <a:ext cx="299235" cy="145273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 115"/>
          <p:cNvSpPr/>
          <p:nvPr/>
        </p:nvSpPr>
        <p:spPr>
          <a:xfrm>
            <a:off x="5077794" y="3174562"/>
            <a:ext cx="1003577" cy="434148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Telecoms System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5077794" y="3721258"/>
            <a:ext cx="1003577" cy="434148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Telecoms Facilities and Service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7698960" y="2604868"/>
            <a:ext cx="932688" cy="434148"/>
          </a:xfrm>
          <a:prstGeom prst="rect">
            <a:avLst/>
          </a:prstGeom>
          <a:solidFill>
            <a:srgbClr val="7FD1D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ATM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771925" y="3252727"/>
            <a:ext cx="1003577" cy="434148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ATM Acquisition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771925" y="4346119"/>
            <a:ext cx="1003577" cy="434148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ATM Disposal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7771925" y="3799423"/>
            <a:ext cx="1003577" cy="434148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 smtClean="0">
                <a:solidFill>
                  <a:srgbClr val="000000"/>
                </a:solidFill>
              </a:rPr>
              <a:t>ATM Repairs &amp; Maintenance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8" name="Elbow Connector 7"/>
          <p:cNvCxnSpPr>
            <a:stCxn id="51" idx="2"/>
            <a:endCxn id="56" idx="1"/>
          </p:cNvCxnSpPr>
          <p:nvPr/>
        </p:nvCxnSpPr>
        <p:spPr>
          <a:xfrm rot="5400000">
            <a:off x="7753223" y="3057719"/>
            <a:ext cx="430785" cy="393379"/>
          </a:xfrm>
          <a:prstGeom prst="bentConnector4">
            <a:avLst>
              <a:gd name="adj1" fmla="val 24805"/>
              <a:gd name="adj2" fmla="val 134867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10"/>
          <p:cNvCxnSpPr>
            <a:stCxn id="51" idx="2"/>
            <a:endCxn id="58" idx="1"/>
          </p:cNvCxnSpPr>
          <p:nvPr/>
        </p:nvCxnSpPr>
        <p:spPr>
          <a:xfrm rot="5400000">
            <a:off x="7479875" y="3331067"/>
            <a:ext cx="977481" cy="393379"/>
          </a:xfrm>
          <a:prstGeom prst="bentConnector4">
            <a:avLst>
              <a:gd name="adj1" fmla="val 10832"/>
              <a:gd name="adj2" fmla="val 134867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/>
          <p:cNvCxnSpPr>
            <a:stCxn id="51" idx="2"/>
            <a:endCxn id="57" idx="1"/>
          </p:cNvCxnSpPr>
          <p:nvPr/>
        </p:nvCxnSpPr>
        <p:spPr>
          <a:xfrm rot="5400000">
            <a:off x="7206527" y="3604415"/>
            <a:ext cx="1524177" cy="393379"/>
          </a:xfrm>
          <a:prstGeom prst="bentConnector4">
            <a:avLst>
              <a:gd name="adj1" fmla="val 6883"/>
              <a:gd name="adj2" fmla="val 134867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Elbow Connector 6"/>
          <p:cNvCxnSpPr>
            <a:stCxn id="68" idx="2"/>
            <a:endCxn id="72" idx="1"/>
          </p:cNvCxnSpPr>
          <p:nvPr/>
        </p:nvCxnSpPr>
        <p:spPr>
          <a:xfrm rot="5400000">
            <a:off x="132145" y="2600055"/>
            <a:ext cx="983352" cy="528230"/>
          </a:xfrm>
          <a:prstGeom prst="bentConnector4">
            <a:avLst>
              <a:gd name="adj1" fmla="val 14573"/>
              <a:gd name="adj2" fmla="val 12625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8826332" y="2604868"/>
            <a:ext cx="932688" cy="434148"/>
          </a:xfrm>
          <a:prstGeom prst="rect">
            <a:avLst/>
          </a:prstGeom>
          <a:solidFill>
            <a:srgbClr val="7FD1D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P.O.S Machine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9957816" y="2607066"/>
            <a:ext cx="932688" cy="434148"/>
          </a:xfrm>
          <a:prstGeom prst="rect">
            <a:avLst/>
          </a:prstGeom>
          <a:solidFill>
            <a:srgbClr val="7FD1D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Payment Solutions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14" name="Elbow Connector 13"/>
          <p:cNvCxnSpPr>
            <a:stCxn id="70" idx="2"/>
            <a:endCxn id="51" idx="0"/>
          </p:cNvCxnSpPr>
          <p:nvPr/>
        </p:nvCxnSpPr>
        <p:spPr>
          <a:xfrm rot="5400000">
            <a:off x="8714498" y="1838634"/>
            <a:ext cx="217040" cy="1315428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stCxn id="70" idx="2"/>
            <a:endCxn id="96" idx="0"/>
          </p:cNvCxnSpPr>
          <p:nvPr/>
        </p:nvCxnSpPr>
        <p:spPr>
          <a:xfrm rot="5400000">
            <a:off x="9278184" y="2402320"/>
            <a:ext cx="217040" cy="188056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/>
          <p:cNvCxnSpPr>
            <a:stCxn id="70" idx="2"/>
            <a:endCxn id="97" idx="0"/>
          </p:cNvCxnSpPr>
          <p:nvPr/>
        </p:nvCxnSpPr>
        <p:spPr>
          <a:xfrm rot="16200000" flipH="1">
            <a:off x="9842827" y="2025733"/>
            <a:ext cx="219238" cy="943428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>
            <a:stCxn id="67" idx="2"/>
            <a:endCxn id="70" idx="0"/>
          </p:cNvCxnSpPr>
          <p:nvPr/>
        </p:nvCxnSpPr>
        <p:spPr>
          <a:xfrm rot="16200000" flipH="1">
            <a:off x="7340734" y="-186318"/>
            <a:ext cx="292620" cy="3987376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Elbow Connector 8"/>
          <p:cNvCxnSpPr>
            <a:stCxn id="86" idx="2"/>
            <a:endCxn id="87" idx="1"/>
          </p:cNvCxnSpPr>
          <p:nvPr/>
        </p:nvCxnSpPr>
        <p:spPr>
          <a:xfrm rot="5400000">
            <a:off x="5123582" y="2348656"/>
            <a:ext cx="436656" cy="528231"/>
          </a:xfrm>
          <a:prstGeom prst="bentConnector4">
            <a:avLst>
              <a:gd name="adj1" fmla="val 25144"/>
              <a:gd name="adj2" fmla="val 12625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lbow Connector 11"/>
          <p:cNvCxnSpPr>
            <a:stCxn id="86" idx="2"/>
            <a:endCxn id="116" idx="1"/>
          </p:cNvCxnSpPr>
          <p:nvPr/>
        </p:nvCxnSpPr>
        <p:spPr>
          <a:xfrm rot="5400000">
            <a:off x="4843314" y="2628924"/>
            <a:ext cx="997193" cy="528231"/>
          </a:xfrm>
          <a:prstGeom prst="bentConnector4">
            <a:avLst>
              <a:gd name="adj1" fmla="val 10555"/>
              <a:gd name="adj2" fmla="val 12625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86" idx="2"/>
            <a:endCxn id="118" idx="1"/>
          </p:cNvCxnSpPr>
          <p:nvPr/>
        </p:nvCxnSpPr>
        <p:spPr>
          <a:xfrm rot="5400000">
            <a:off x="4569966" y="2902272"/>
            <a:ext cx="1543889" cy="528231"/>
          </a:xfrm>
          <a:prstGeom prst="bentConnector4">
            <a:avLst>
              <a:gd name="adj1" fmla="val 7045"/>
              <a:gd name="adj2" fmla="val 12625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92" idx="2"/>
            <a:endCxn id="94" idx="1"/>
          </p:cNvCxnSpPr>
          <p:nvPr/>
        </p:nvCxnSpPr>
        <p:spPr>
          <a:xfrm rot="5400000">
            <a:off x="6516514" y="2345570"/>
            <a:ext cx="443712" cy="528228"/>
          </a:xfrm>
          <a:prstGeom prst="bentConnector4">
            <a:avLst>
              <a:gd name="adj1" fmla="val 25539"/>
              <a:gd name="adj2" fmla="val 12625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/>
          <p:cNvSpPr/>
          <p:nvPr/>
        </p:nvSpPr>
        <p:spPr>
          <a:xfrm>
            <a:off x="9430723" y="3215376"/>
            <a:ext cx="932688" cy="438912"/>
          </a:xfrm>
          <a:prstGeom prst="rect">
            <a:avLst/>
          </a:prstGeom>
          <a:solidFill>
            <a:srgbClr val="7FD1D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Card Prod. &amp; Personalization </a:t>
            </a:r>
          </a:p>
        </p:txBody>
      </p:sp>
      <p:sp>
        <p:nvSpPr>
          <p:cNvPr id="99" name="Rectangle 98"/>
          <p:cNvSpPr/>
          <p:nvPr/>
        </p:nvSpPr>
        <p:spPr>
          <a:xfrm>
            <a:off x="9475932" y="3847247"/>
            <a:ext cx="1005840" cy="438912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>
                <a:solidFill>
                  <a:srgbClr val="000000"/>
                </a:solidFill>
              </a:rPr>
              <a:t> Master Card Prod. &amp; Personalization 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9475932" y="4409345"/>
            <a:ext cx="1005840" cy="438912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>
                <a:solidFill>
                  <a:srgbClr val="000000"/>
                </a:solidFill>
              </a:rPr>
              <a:t>Verve Card Prod. &amp; Personalization 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9475932" y="4971444"/>
            <a:ext cx="1005840" cy="438912"/>
          </a:xfrm>
          <a:prstGeom prst="rect">
            <a:avLst/>
          </a:prstGeom>
          <a:solidFill>
            <a:srgbClr val="E5FFF6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800" dirty="0">
                <a:solidFill>
                  <a:srgbClr val="000000"/>
                </a:solidFill>
              </a:rPr>
              <a:t> Visa Card Prod. &amp; Personalization </a:t>
            </a:r>
          </a:p>
        </p:txBody>
      </p:sp>
      <p:cxnSp>
        <p:nvCxnSpPr>
          <p:cNvPr id="30" name="Elbow Connector 29"/>
          <p:cNvCxnSpPr>
            <a:stCxn id="98" idx="2"/>
            <a:endCxn id="99" idx="1"/>
          </p:cNvCxnSpPr>
          <p:nvPr/>
        </p:nvCxnSpPr>
        <p:spPr>
          <a:xfrm rot="5400000">
            <a:off x="9480293" y="3649928"/>
            <a:ext cx="412415" cy="421135"/>
          </a:xfrm>
          <a:prstGeom prst="bentConnector4">
            <a:avLst>
              <a:gd name="adj1" fmla="val 23394"/>
              <a:gd name="adj2" fmla="val 13292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98" idx="2"/>
            <a:endCxn id="100" idx="1"/>
          </p:cNvCxnSpPr>
          <p:nvPr/>
        </p:nvCxnSpPr>
        <p:spPr>
          <a:xfrm rot="5400000">
            <a:off x="9199244" y="3930977"/>
            <a:ext cx="974513" cy="421135"/>
          </a:xfrm>
          <a:prstGeom prst="bentConnector4">
            <a:avLst>
              <a:gd name="adj1" fmla="val 9514"/>
              <a:gd name="adj2" fmla="val 13292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/>
          <p:cNvCxnSpPr>
            <a:stCxn id="98" idx="2"/>
            <a:endCxn id="101" idx="1"/>
          </p:cNvCxnSpPr>
          <p:nvPr/>
        </p:nvCxnSpPr>
        <p:spPr>
          <a:xfrm rot="5400000">
            <a:off x="8918194" y="4212027"/>
            <a:ext cx="1536612" cy="421135"/>
          </a:xfrm>
          <a:prstGeom prst="bentConnector4">
            <a:avLst>
              <a:gd name="adj1" fmla="val 5789"/>
              <a:gd name="adj2" fmla="val 13292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/>
          <p:cNvCxnSpPr>
            <a:endCxn id="98" idx="0"/>
          </p:cNvCxnSpPr>
          <p:nvPr/>
        </p:nvCxnSpPr>
        <p:spPr>
          <a:xfrm rot="16200000" flipH="1">
            <a:off x="9275125" y="2593434"/>
            <a:ext cx="827548" cy="416335"/>
          </a:xfrm>
          <a:prstGeom prst="bentConnector3">
            <a:avLst>
              <a:gd name="adj1" fmla="val 13772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766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porate </a:t>
            </a:r>
            <a:r>
              <a:rPr lang="en-US" dirty="0" smtClean="0"/>
              <a:t>services </a:t>
            </a:r>
            <a:r>
              <a:rPr lang="en-US" dirty="0"/>
              <a:t>category: </a:t>
            </a:r>
            <a:r>
              <a:rPr lang="en-US" dirty="0" smtClean="0"/>
              <a:t>Fleet Management</a:t>
            </a:r>
            <a:endParaRPr lang="en-US" dirty="0"/>
          </a:p>
        </p:txBody>
      </p:sp>
      <p:sp>
        <p:nvSpPr>
          <p:cNvPr id="87" name="Rectangle 86"/>
          <p:cNvSpPr/>
          <p:nvPr/>
        </p:nvSpPr>
        <p:spPr>
          <a:xfrm>
            <a:off x="5701113" y="1840843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Bank-Owned Fleet Management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6288582" y="2505548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800" kern="0" dirty="0">
                <a:solidFill>
                  <a:srgbClr val="000000"/>
                </a:solidFill>
              </a:rPr>
              <a:t>Fleet Management</a:t>
            </a:r>
          </a:p>
        </p:txBody>
      </p:sp>
      <p:sp>
        <p:nvSpPr>
          <p:cNvPr id="89" name="Rectangle 88"/>
          <p:cNvSpPr/>
          <p:nvPr/>
        </p:nvSpPr>
        <p:spPr>
          <a:xfrm>
            <a:off x="6288582" y="3108689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Vehicle Licensing</a:t>
            </a:r>
          </a:p>
        </p:txBody>
      </p:sp>
      <p:sp>
        <p:nvSpPr>
          <p:cNvPr id="90" name="Rectangle 89"/>
          <p:cNvSpPr/>
          <p:nvPr/>
        </p:nvSpPr>
        <p:spPr>
          <a:xfrm>
            <a:off x="5132767" y="2498933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800" kern="0" dirty="0">
                <a:solidFill>
                  <a:srgbClr val="000000"/>
                </a:solidFill>
              </a:rPr>
              <a:t>Vehicle/Fleet Purchase</a:t>
            </a:r>
          </a:p>
        </p:txBody>
      </p:sp>
      <p:sp>
        <p:nvSpPr>
          <p:cNvPr id="91" name="Rectangle 90"/>
          <p:cNvSpPr/>
          <p:nvPr/>
        </p:nvSpPr>
        <p:spPr>
          <a:xfrm>
            <a:off x="6288582" y="3672519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Vehicle Maintenance</a:t>
            </a:r>
          </a:p>
        </p:txBody>
      </p:sp>
      <p:cxnSp>
        <p:nvCxnSpPr>
          <p:cNvPr id="93" name="Elbow Connector 92"/>
          <p:cNvCxnSpPr>
            <a:stCxn id="88" idx="2"/>
            <a:endCxn id="89" idx="1"/>
          </p:cNvCxnSpPr>
          <p:nvPr/>
        </p:nvCxnSpPr>
        <p:spPr>
          <a:xfrm rot="5400000">
            <a:off x="6304628" y="2923651"/>
            <a:ext cx="386067" cy="418157"/>
          </a:xfrm>
          <a:prstGeom prst="bentConnector4">
            <a:avLst>
              <a:gd name="adj1" fmla="val 21886"/>
              <a:gd name="adj2" fmla="val 116965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</p:cxnSp>
      <p:cxnSp>
        <p:nvCxnSpPr>
          <p:cNvPr id="94" name="Elbow Connector 93"/>
          <p:cNvCxnSpPr>
            <a:stCxn id="88" idx="2"/>
          </p:cNvCxnSpPr>
          <p:nvPr/>
        </p:nvCxnSpPr>
        <p:spPr>
          <a:xfrm rot="5400000">
            <a:off x="6031280" y="3196999"/>
            <a:ext cx="932763" cy="418157"/>
          </a:xfrm>
          <a:prstGeom prst="bentConnector4">
            <a:avLst>
              <a:gd name="adj1" fmla="val 7940"/>
              <a:gd name="adj2" fmla="val 117783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</p:cxnSp>
      <p:sp>
        <p:nvSpPr>
          <p:cNvPr id="96" name="Rectangle 95"/>
          <p:cNvSpPr/>
          <p:nvPr/>
        </p:nvSpPr>
        <p:spPr>
          <a:xfrm>
            <a:off x="5156694" y="3655385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Vehicle/Fleet Purchase- Head Office</a:t>
            </a:r>
          </a:p>
        </p:txBody>
      </p:sp>
      <p:sp>
        <p:nvSpPr>
          <p:cNvPr id="97" name="Rectangle 96"/>
          <p:cNvSpPr/>
          <p:nvPr/>
        </p:nvSpPr>
        <p:spPr>
          <a:xfrm>
            <a:off x="5156694" y="3108689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Vehicle/Fleet Purchase- Branches</a:t>
            </a:r>
          </a:p>
        </p:txBody>
      </p:sp>
      <p:sp>
        <p:nvSpPr>
          <p:cNvPr id="98" name="Rectangle 97"/>
          <p:cNvSpPr/>
          <p:nvPr/>
        </p:nvSpPr>
        <p:spPr>
          <a:xfrm>
            <a:off x="5156694" y="4230644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Vehicle/Fleet Purchase- Area Office</a:t>
            </a:r>
          </a:p>
        </p:txBody>
      </p:sp>
      <p:cxnSp>
        <p:nvCxnSpPr>
          <p:cNvPr id="99" name="Elbow Connector 98"/>
          <p:cNvCxnSpPr>
            <a:stCxn id="90" idx="2"/>
            <a:endCxn id="97" idx="1"/>
          </p:cNvCxnSpPr>
          <p:nvPr/>
        </p:nvCxnSpPr>
        <p:spPr>
          <a:xfrm rot="5400000">
            <a:off x="5157468" y="2932307"/>
            <a:ext cx="392682" cy="394230"/>
          </a:xfrm>
          <a:prstGeom prst="bentConnector4">
            <a:avLst>
              <a:gd name="adj1" fmla="val 22360"/>
              <a:gd name="adj2" fmla="val 109846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</p:cxnSp>
      <p:cxnSp>
        <p:nvCxnSpPr>
          <p:cNvPr id="100" name="Elbow Connector 99"/>
          <p:cNvCxnSpPr>
            <a:stCxn id="90" idx="2"/>
            <a:endCxn id="96" idx="1"/>
          </p:cNvCxnSpPr>
          <p:nvPr/>
        </p:nvCxnSpPr>
        <p:spPr>
          <a:xfrm rot="5400000">
            <a:off x="4884120" y="3205655"/>
            <a:ext cx="939378" cy="394230"/>
          </a:xfrm>
          <a:prstGeom prst="bentConnector4">
            <a:avLst>
              <a:gd name="adj1" fmla="val 9060"/>
              <a:gd name="adj2" fmla="val 109846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</p:cxnSp>
      <p:cxnSp>
        <p:nvCxnSpPr>
          <p:cNvPr id="101" name="Elbow Connector 100"/>
          <p:cNvCxnSpPr>
            <a:stCxn id="90" idx="2"/>
            <a:endCxn id="98" idx="1"/>
          </p:cNvCxnSpPr>
          <p:nvPr/>
        </p:nvCxnSpPr>
        <p:spPr>
          <a:xfrm rot="5400000">
            <a:off x="4596491" y="3493284"/>
            <a:ext cx="1514637" cy="394230"/>
          </a:xfrm>
          <a:prstGeom prst="bentConnector4">
            <a:avLst>
              <a:gd name="adj1" fmla="val 5245"/>
              <a:gd name="adj2" fmla="val 109846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</p:cxnSp>
      <p:sp>
        <p:nvSpPr>
          <p:cNvPr id="102" name="Rectangle 101"/>
          <p:cNvSpPr/>
          <p:nvPr/>
        </p:nvSpPr>
        <p:spPr>
          <a:xfrm>
            <a:off x="6288582" y="4230644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Vehicle Fueling &amp; Other Trip Charges</a:t>
            </a:r>
          </a:p>
        </p:txBody>
      </p:sp>
      <p:cxnSp>
        <p:nvCxnSpPr>
          <p:cNvPr id="103" name="Elbow Connector 102"/>
          <p:cNvCxnSpPr>
            <a:stCxn id="88" idx="2"/>
            <a:endCxn id="102" idx="1"/>
          </p:cNvCxnSpPr>
          <p:nvPr/>
        </p:nvCxnSpPr>
        <p:spPr>
          <a:xfrm rot="5400000">
            <a:off x="5743650" y="3484629"/>
            <a:ext cx="1508022" cy="418157"/>
          </a:xfrm>
          <a:prstGeom prst="bentConnector4">
            <a:avLst>
              <a:gd name="adj1" fmla="val 5555"/>
              <a:gd name="adj2" fmla="val 12030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/>
          <p:cNvSpPr/>
          <p:nvPr/>
        </p:nvSpPr>
        <p:spPr>
          <a:xfrm>
            <a:off x="4004623" y="1847054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Outsourced Fleet Management Services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4859865" y="1125247"/>
            <a:ext cx="841248" cy="43891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Fleet Management</a:t>
            </a:r>
          </a:p>
        </p:txBody>
      </p:sp>
      <p:cxnSp>
        <p:nvCxnSpPr>
          <p:cNvPr id="67" name="Elbow Connector 66"/>
          <p:cNvCxnSpPr>
            <a:stCxn id="105" idx="2"/>
            <a:endCxn id="104" idx="0"/>
          </p:cNvCxnSpPr>
          <p:nvPr/>
        </p:nvCxnSpPr>
        <p:spPr>
          <a:xfrm rot="5400000">
            <a:off x="4711421" y="1277985"/>
            <a:ext cx="282895" cy="855242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Elbow Connector 68"/>
          <p:cNvCxnSpPr>
            <a:stCxn id="105" idx="2"/>
            <a:endCxn id="87" idx="0"/>
          </p:cNvCxnSpPr>
          <p:nvPr/>
        </p:nvCxnSpPr>
        <p:spPr>
          <a:xfrm rot="16200000" flipH="1">
            <a:off x="5562771" y="1281877"/>
            <a:ext cx="276684" cy="841248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Elbow Connector 4"/>
          <p:cNvCxnSpPr>
            <a:stCxn id="87" idx="2"/>
            <a:endCxn id="90" idx="0"/>
          </p:cNvCxnSpPr>
          <p:nvPr/>
        </p:nvCxnSpPr>
        <p:spPr>
          <a:xfrm rot="5400000">
            <a:off x="5726742" y="2103938"/>
            <a:ext cx="219178" cy="570813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Elbow Connector 6"/>
          <p:cNvCxnSpPr>
            <a:stCxn id="87" idx="2"/>
            <a:endCxn id="88" idx="0"/>
          </p:cNvCxnSpPr>
          <p:nvPr/>
        </p:nvCxnSpPr>
        <p:spPr>
          <a:xfrm rot="16200000" flipH="1">
            <a:off x="6301342" y="2100150"/>
            <a:ext cx="225793" cy="585002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9937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porate </a:t>
            </a:r>
            <a:r>
              <a:rPr lang="en-US" dirty="0" smtClean="0"/>
              <a:t>services </a:t>
            </a:r>
            <a:r>
              <a:rPr lang="en-US" dirty="0"/>
              <a:t>category: Office Services &amp; Supply</a:t>
            </a:r>
          </a:p>
        </p:txBody>
      </p:sp>
      <p:sp>
        <p:nvSpPr>
          <p:cNvPr id="4" name="Rectangle 3"/>
          <p:cNvSpPr/>
          <p:nvPr/>
        </p:nvSpPr>
        <p:spPr>
          <a:xfrm>
            <a:off x="4676851" y="1101193"/>
            <a:ext cx="841248" cy="43891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Office Services &amp; Supply</a:t>
            </a:r>
          </a:p>
        </p:txBody>
      </p:sp>
      <p:sp>
        <p:nvSpPr>
          <p:cNvPr id="5" name="Rectangle 4"/>
          <p:cNvSpPr/>
          <p:nvPr/>
        </p:nvSpPr>
        <p:spPr>
          <a:xfrm>
            <a:off x="667908" y="1840841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Printing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930784" y="1848544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Periodicals</a:t>
            </a:r>
          </a:p>
        </p:txBody>
      </p:sp>
      <p:cxnSp>
        <p:nvCxnSpPr>
          <p:cNvPr id="21" name="Elbow Connector 20"/>
          <p:cNvCxnSpPr>
            <a:stCxn id="4" idx="2"/>
            <a:endCxn id="5" idx="0"/>
          </p:cNvCxnSpPr>
          <p:nvPr/>
        </p:nvCxnSpPr>
        <p:spPr>
          <a:xfrm rot="5400000">
            <a:off x="2942636" y="-313998"/>
            <a:ext cx="300736" cy="4008943"/>
          </a:xfrm>
          <a:prstGeom prst="bentConnector3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9430122" y="1840840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Gen. Office Requirement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655528" y="1848544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Office machine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2249031" y="1836619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Non-Printed Stationeries</a:t>
            </a:r>
            <a:endParaRPr lang="en-US" sz="800" dirty="0">
              <a:solidFill>
                <a:srgbClr val="FFFFFF"/>
              </a:solidFill>
            </a:endParaRPr>
          </a:p>
        </p:txBody>
      </p:sp>
      <p:cxnSp>
        <p:nvCxnSpPr>
          <p:cNvPr id="42" name="Elbow Connector 41"/>
          <p:cNvCxnSpPr>
            <a:stCxn id="4" idx="2"/>
            <a:endCxn id="39" idx="0"/>
          </p:cNvCxnSpPr>
          <p:nvPr/>
        </p:nvCxnSpPr>
        <p:spPr>
          <a:xfrm rot="5400000">
            <a:off x="3735308" y="474452"/>
            <a:ext cx="296514" cy="2427820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4" idx="2"/>
            <a:endCxn id="38" idx="0"/>
          </p:cNvCxnSpPr>
          <p:nvPr/>
        </p:nvCxnSpPr>
        <p:spPr>
          <a:xfrm rot="5400000">
            <a:off x="4432595" y="1183663"/>
            <a:ext cx="308439" cy="1021323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/>
          <p:cNvCxnSpPr>
            <a:stCxn id="4" idx="2"/>
            <a:endCxn id="8" idx="0"/>
          </p:cNvCxnSpPr>
          <p:nvPr/>
        </p:nvCxnSpPr>
        <p:spPr>
          <a:xfrm rot="16200000" flipH="1">
            <a:off x="5070222" y="1567357"/>
            <a:ext cx="308439" cy="253933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4" idx="2"/>
            <a:endCxn id="37" idx="0"/>
          </p:cNvCxnSpPr>
          <p:nvPr/>
        </p:nvCxnSpPr>
        <p:spPr>
          <a:xfrm rot="16200000" flipH="1">
            <a:off x="7323743" y="-686164"/>
            <a:ext cx="300735" cy="4753271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52"/>
          <p:cNvSpPr/>
          <p:nvPr/>
        </p:nvSpPr>
        <p:spPr>
          <a:xfrm>
            <a:off x="170036" y="2491085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Printed Stationeries</a:t>
            </a:r>
          </a:p>
        </p:txBody>
      </p:sp>
      <p:cxnSp>
        <p:nvCxnSpPr>
          <p:cNvPr id="154" name="Elbow Connector 153"/>
          <p:cNvCxnSpPr>
            <a:stCxn id="153" idx="2"/>
          </p:cNvCxnSpPr>
          <p:nvPr/>
        </p:nvCxnSpPr>
        <p:spPr>
          <a:xfrm rot="5400000">
            <a:off x="173159" y="2922111"/>
            <a:ext cx="411912" cy="418157"/>
          </a:xfrm>
          <a:prstGeom prst="bentConnector4">
            <a:avLst>
              <a:gd name="adj1" fmla="val 23650"/>
              <a:gd name="adj2" fmla="val 125687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</p:cxnSp>
      <p:cxnSp>
        <p:nvCxnSpPr>
          <p:cNvPr id="155" name="Elbow Connector 154"/>
          <p:cNvCxnSpPr>
            <a:stCxn id="153" idx="2"/>
          </p:cNvCxnSpPr>
          <p:nvPr/>
        </p:nvCxnSpPr>
        <p:spPr>
          <a:xfrm rot="5400000">
            <a:off x="-100189" y="3195459"/>
            <a:ext cx="958608" cy="418157"/>
          </a:xfrm>
          <a:prstGeom prst="bentConnector4">
            <a:avLst>
              <a:gd name="adj1" fmla="val 9946"/>
              <a:gd name="adj2" fmla="val 125687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</p:cxnSp>
      <p:cxnSp>
        <p:nvCxnSpPr>
          <p:cNvPr id="156" name="Elbow Connector 155"/>
          <p:cNvCxnSpPr>
            <a:stCxn id="153" idx="2"/>
          </p:cNvCxnSpPr>
          <p:nvPr/>
        </p:nvCxnSpPr>
        <p:spPr>
          <a:xfrm rot="5400000">
            <a:off x="-387818" y="3483088"/>
            <a:ext cx="1533867" cy="418157"/>
          </a:xfrm>
          <a:prstGeom prst="bentConnector4">
            <a:avLst>
              <a:gd name="adj1" fmla="val 6294"/>
              <a:gd name="adj2" fmla="val 125687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</p:cxnSp>
      <p:cxnSp>
        <p:nvCxnSpPr>
          <p:cNvPr id="157" name="Elbow Connector 156"/>
          <p:cNvCxnSpPr>
            <a:stCxn id="153" idx="2"/>
          </p:cNvCxnSpPr>
          <p:nvPr/>
        </p:nvCxnSpPr>
        <p:spPr>
          <a:xfrm rot="5400000">
            <a:off x="-681092" y="3776362"/>
            <a:ext cx="2120415" cy="418157"/>
          </a:xfrm>
          <a:prstGeom prst="bentConnector4">
            <a:avLst>
              <a:gd name="adj1" fmla="val 4355"/>
              <a:gd name="adj2" fmla="val 125687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</p:cxnSp>
      <p:cxnSp>
        <p:nvCxnSpPr>
          <p:cNvPr id="158" name="Elbow Connector 157"/>
          <p:cNvCxnSpPr>
            <a:stCxn id="153" idx="2"/>
          </p:cNvCxnSpPr>
          <p:nvPr/>
        </p:nvCxnSpPr>
        <p:spPr>
          <a:xfrm rot="5400000">
            <a:off x="-949920" y="4045190"/>
            <a:ext cx="2658071" cy="418157"/>
          </a:xfrm>
          <a:prstGeom prst="bentConnector4">
            <a:avLst>
              <a:gd name="adj1" fmla="val 3227"/>
              <a:gd name="adj2" fmla="val 125687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</p:cxnSp>
      <p:sp>
        <p:nvSpPr>
          <p:cNvPr id="160" name="Rectangle 159"/>
          <p:cNvSpPr/>
          <p:nvPr/>
        </p:nvSpPr>
        <p:spPr>
          <a:xfrm>
            <a:off x="170036" y="3120071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kern="0" dirty="0" smtClean="0">
                <a:solidFill>
                  <a:srgbClr val="000000"/>
                </a:solidFill>
              </a:rPr>
              <a:t>Books, Booklets, brochures &amp; Leaflets</a:t>
            </a:r>
          </a:p>
        </p:txBody>
      </p:sp>
      <p:sp>
        <p:nvSpPr>
          <p:cNvPr id="161" name="Rectangle 160"/>
          <p:cNvSpPr/>
          <p:nvPr/>
        </p:nvSpPr>
        <p:spPr>
          <a:xfrm>
            <a:off x="170036" y="3666767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/>
                </a:solidFill>
              </a:rPr>
              <a:t>Printed &amp; Non-printed Envelopes</a:t>
            </a:r>
          </a:p>
        </p:txBody>
      </p:sp>
      <p:sp>
        <p:nvSpPr>
          <p:cNvPr id="162" name="Rectangle 161"/>
          <p:cNvSpPr/>
          <p:nvPr/>
        </p:nvSpPr>
        <p:spPr>
          <a:xfrm>
            <a:off x="170036" y="4242026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Cards</a:t>
            </a:r>
          </a:p>
        </p:txBody>
      </p:sp>
      <p:sp>
        <p:nvSpPr>
          <p:cNvPr id="163" name="Rectangle 162"/>
          <p:cNvSpPr/>
          <p:nvPr/>
        </p:nvSpPr>
        <p:spPr>
          <a:xfrm>
            <a:off x="170036" y="4828574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Forms</a:t>
            </a:r>
          </a:p>
        </p:txBody>
      </p:sp>
      <p:sp>
        <p:nvSpPr>
          <p:cNvPr id="164" name="Rectangle 163"/>
          <p:cNvSpPr/>
          <p:nvPr/>
        </p:nvSpPr>
        <p:spPr>
          <a:xfrm>
            <a:off x="170036" y="5366230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Labels (Stallion)</a:t>
            </a:r>
          </a:p>
        </p:txBody>
      </p:sp>
      <p:cxnSp>
        <p:nvCxnSpPr>
          <p:cNvPr id="168" name="Elbow Connector 167"/>
          <p:cNvCxnSpPr>
            <a:stCxn id="5" idx="2"/>
            <a:endCxn id="153" idx="0"/>
          </p:cNvCxnSpPr>
          <p:nvPr/>
        </p:nvCxnSpPr>
        <p:spPr>
          <a:xfrm rot="5400000">
            <a:off x="732697" y="2135250"/>
            <a:ext cx="211332" cy="500339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 168"/>
          <p:cNvSpPr/>
          <p:nvPr/>
        </p:nvSpPr>
        <p:spPr>
          <a:xfrm>
            <a:off x="3668584" y="2498786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/>
                </a:solidFill>
              </a:rPr>
              <a:t>Printing Machinery</a:t>
            </a:r>
          </a:p>
        </p:txBody>
      </p:sp>
      <p:sp>
        <p:nvSpPr>
          <p:cNvPr id="170" name="Rectangle 169"/>
          <p:cNvSpPr/>
          <p:nvPr/>
        </p:nvSpPr>
        <p:spPr>
          <a:xfrm>
            <a:off x="3668584" y="3045482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Other Office Machinery</a:t>
            </a:r>
          </a:p>
        </p:txBody>
      </p:sp>
      <p:cxnSp>
        <p:nvCxnSpPr>
          <p:cNvPr id="172" name="Elbow Connector 171"/>
          <p:cNvCxnSpPr>
            <a:stCxn id="38" idx="2"/>
            <a:endCxn id="169" idx="1"/>
          </p:cNvCxnSpPr>
          <p:nvPr/>
        </p:nvCxnSpPr>
        <p:spPr>
          <a:xfrm rot="5400000">
            <a:off x="3658166" y="2297874"/>
            <a:ext cx="428404" cy="407568"/>
          </a:xfrm>
          <a:prstGeom prst="bentConnector4">
            <a:avLst>
              <a:gd name="adj1" fmla="val 24665"/>
              <a:gd name="adj2" fmla="val 126952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Elbow Connector 174"/>
          <p:cNvCxnSpPr>
            <a:stCxn id="38" idx="2"/>
            <a:endCxn id="170" idx="1"/>
          </p:cNvCxnSpPr>
          <p:nvPr/>
        </p:nvCxnSpPr>
        <p:spPr>
          <a:xfrm rot="5400000">
            <a:off x="3384818" y="2571222"/>
            <a:ext cx="975100" cy="407568"/>
          </a:xfrm>
          <a:prstGeom prst="bentConnector4">
            <a:avLst>
              <a:gd name="adj1" fmla="val 10858"/>
              <a:gd name="adj2" fmla="val 126952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tangle 177"/>
          <p:cNvSpPr/>
          <p:nvPr/>
        </p:nvSpPr>
        <p:spPr>
          <a:xfrm>
            <a:off x="9435056" y="2491084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Paper - Printing</a:t>
            </a:r>
          </a:p>
        </p:txBody>
      </p:sp>
      <p:sp>
        <p:nvSpPr>
          <p:cNvPr id="179" name="Rectangle 178"/>
          <p:cNvSpPr/>
          <p:nvPr/>
        </p:nvSpPr>
        <p:spPr>
          <a:xfrm>
            <a:off x="9435056" y="3037780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Electronic Office Consumables</a:t>
            </a:r>
          </a:p>
        </p:txBody>
      </p:sp>
      <p:cxnSp>
        <p:nvCxnSpPr>
          <p:cNvPr id="181" name="Elbow Connector 180"/>
          <p:cNvCxnSpPr>
            <a:stCxn id="37" idx="2"/>
            <a:endCxn id="178" idx="1"/>
          </p:cNvCxnSpPr>
          <p:nvPr/>
        </p:nvCxnSpPr>
        <p:spPr>
          <a:xfrm rot="5400000">
            <a:off x="9428698" y="2286110"/>
            <a:ext cx="428406" cy="415690"/>
          </a:xfrm>
          <a:prstGeom prst="bentConnector4">
            <a:avLst>
              <a:gd name="adj1" fmla="val 24665"/>
              <a:gd name="adj2" fmla="val 12642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Elbow Connector 183"/>
          <p:cNvCxnSpPr>
            <a:stCxn id="37" idx="2"/>
            <a:endCxn id="179" idx="1"/>
          </p:cNvCxnSpPr>
          <p:nvPr/>
        </p:nvCxnSpPr>
        <p:spPr>
          <a:xfrm rot="5400000">
            <a:off x="9155350" y="2559458"/>
            <a:ext cx="975102" cy="415690"/>
          </a:xfrm>
          <a:prstGeom prst="bentConnector4">
            <a:avLst>
              <a:gd name="adj1" fmla="val 10858"/>
              <a:gd name="adj2" fmla="val 12642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6487384" y="1861867"/>
            <a:ext cx="836314" cy="43414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 cap="flat" cmpd="sng" algn="ctr">
            <a:solidFill>
              <a:srgbClr val="808080">
                <a:shade val="50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od &amp; Beverage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459439" y="2454273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Water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461567" y="2970389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atering Service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459439" y="3508887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Other beverages</a:t>
            </a:r>
          </a:p>
        </p:txBody>
      </p:sp>
      <p:cxnSp>
        <p:nvCxnSpPr>
          <p:cNvPr id="41" name="Elbow Connector 40"/>
          <p:cNvCxnSpPr>
            <a:stCxn id="34" idx="2"/>
            <a:endCxn id="35" idx="1"/>
          </p:cNvCxnSpPr>
          <p:nvPr/>
        </p:nvCxnSpPr>
        <p:spPr>
          <a:xfrm rot="5400000">
            <a:off x="6494824" y="2260630"/>
            <a:ext cx="375332" cy="446102"/>
          </a:xfrm>
          <a:prstGeom prst="bentConnector4">
            <a:avLst>
              <a:gd name="adj1" fmla="val 21082"/>
              <a:gd name="adj2" fmla="val 124890"/>
            </a:avLst>
          </a:prstGeom>
          <a:noFill/>
          <a:ln w="9525" cap="flat" cmpd="sng" algn="ctr">
            <a:solidFill>
              <a:srgbClr val="808080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43" name="Elbow Connector 42"/>
          <p:cNvCxnSpPr>
            <a:stCxn id="34" idx="2"/>
            <a:endCxn id="36" idx="1"/>
          </p:cNvCxnSpPr>
          <p:nvPr/>
        </p:nvCxnSpPr>
        <p:spPr>
          <a:xfrm rot="5400000">
            <a:off x="6237830" y="2519752"/>
            <a:ext cx="891448" cy="443974"/>
          </a:xfrm>
          <a:prstGeom prst="bentConnector4">
            <a:avLst>
              <a:gd name="adj1" fmla="val 8518"/>
              <a:gd name="adj2" fmla="val 125010"/>
            </a:avLst>
          </a:prstGeom>
          <a:noFill/>
          <a:ln w="9525" cap="flat" cmpd="sng" algn="ctr">
            <a:solidFill>
              <a:srgbClr val="808080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45" name="Elbow Connector 44"/>
          <p:cNvCxnSpPr>
            <a:stCxn id="34" idx="2"/>
            <a:endCxn id="40" idx="1"/>
          </p:cNvCxnSpPr>
          <p:nvPr/>
        </p:nvCxnSpPr>
        <p:spPr>
          <a:xfrm rot="5400000">
            <a:off x="5967517" y="2787937"/>
            <a:ext cx="1429946" cy="446102"/>
          </a:xfrm>
          <a:prstGeom prst="bentConnector4">
            <a:avLst>
              <a:gd name="adj1" fmla="val 5869"/>
              <a:gd name="adj2" fmla="val 124890"/>
            </a:avLst>
          </a:prstGeom>
          <a:noFill/>
          <a:ln w="9525" cap="flat" cmpd="sng" algn="ctr">
            <a:solidFill>
              <a:srgbClr val="808080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6" name="Elbow Connector 5"/>
          <p:cNvCxnSpPr>
            <a:stCxn id="4" idx="2"/>
            <a:endCxn id="34" idx="0"/>
          </p:cNvCxnSpPr>
          <p:nvPr/>
        </p:nvCxnSpPr>
        <p:spPr>
          <a:xfrm rot="16200000" flipH="1">
            <a:off x="5840627" y="796953"/>
            <a:ext cx="321762" cy="1808066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/>
        </p:nvSpPr>
        <p:spPr>
          <a:xfrm>
            <a:off x="7866267" y="1840840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Office Toiletries</a:t>
            </a:r>
            <a:endParaRPr lang="en-US" sz="800" dirty="0">
              <a:solidFill>
                <a:srgbClr val="FFFFFF"/>
              </a:solidFill>
            </a:endParaRPr>
          </a:p>
        </p:txBody>
      </p:sp>
      <p:cxnSp>
        <p:nvCxnSpPr>
          <p:cNvPr id="7" name="Elbow Connector 6"/>
          <p:cNvCxnSpPr>
            <a:stCxn id="4" idx="2"/>
            <a:endCxn id="47" idx="0"/>
          </p:cNvCxnSpPr>
          <p:nvPr/>
        </p:nvCxnSpPr>
        <p:spPr>
          <a:xfrm rot="16200000" flipH="1">
            <a:off x="6541816" y="95764"/>
            <a:ext cx="300735" cy="3189416"/>
          </a:xfrm>
          <a:prstGeom prst="bentConnector3">
            <a:avLst>
              <a:gd name="adj1" fmla="val 5000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3668584" y="3582663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Repairs and Maintenance</a:t>
            </a:r>
          </a:p>
        </p:txBody>
      </p:sp>
      <p:cxnSp>
        <p:nvCxnSpPr>
          <p:cNvPr id="11" name="Elbow Connector 10"/>
          <p:cNvCxnSpPr>
            <a:stCxn id="38" idx="2"/>
            <a:endCxn id="49" idx="1"/>
          </p:cNvCxnSpPr>
          <p:nvPr/>
        </p:nvCxnSpPr>
        <p:spPr>
          <a:xfrm rot="5400000">
            <a:off x="3116228" y="2839812"/>
            <a:ext cx="1512281" cy="407568"/>
          </a:xfrm>
          <a:prstGeom prst="bentConnector4">
            <a:avLst>
              <a:gd name="adj1" fmla="val 6850"/>
              <a:gd name="adj2" fmla="val 127689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>
          <a:xfrm>
            <a:off x="1220218" y="2491928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800" kern="0" dirty="0">
                <a:solidFill>
                  <a:srgbClr val="000000"/>
                </a:solidFill>
              </a:rPr>
              <a:t>Marketing Printing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800" kern="0" dirty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1220218" y="3033016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800" kern="0" dirty="0">
                <a:solidFill>
                  <a:srgbClr val="000000"/>
                </a:solidFill>
              </a:rPr>
              <a:t>Annual Report Printing</a:t>
            </a:r>
          </a:p>
        </p:txBody>
      </p:sp>
      <p:sp>
        <p:nvSpPr>
          <p:cNvPr id="55" name="Rectangle 54"/>
          <p:cNvSpPr/>
          <p:nvPr/>
        </p:nvSpPr>
        <p:spPr>
          <a:xfrm>
            <a:off x="1220218" y="4106312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800" kern="0" dirty="0">
                <a:solidFill>
                  <a:srgbClr val="000000"/>
                </a:solidFill>
              </a:rPr>
              <a:t>Secure Printing Service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1220218" y="4707271"/>
            <a:ext cx="841248" cy="438912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kern="0" dirty="0" err="1">
                <a:solidFill>
                  <a:srgbClr val="000000"/>
                </a:solidFill>
              </a:rPr>
              <a:t>Cheque</a:t>
            </a:r>
            <a:r>
              <a:rPr lang="en-US" sz="700" kern="0" dirty="0">
                <a:solidFill>
                  <a:srgbClr val="000000"/>
                </a:solidFill>
              </a:rPr>
              <a:t> Book Printing</a:t>
            </a:r>
          </a:p>
        </p:txBody>
      </p:sp>
      <p:cxnSp>
        <p:nvCxnSpPr>
          <p:cNvPr id="57" name="Elbow Connector 56"/>
          <p:cNvCxnSpPr>
            <a:stCxn id="55" idx="2"/>
            <a:endCxn id="56" idx="1"/>
          </p:cNvCxnSpPr>
          <p:nvPr/>
        </p:nvCxnSpPr>
        <p:spPr>
          <a:xfrm rot="5400000">
            <a:off x="1239779" y="4525663"/>
            <a:ext cx="381503" cy="420624"/>
          </a:xfrm>
          <a:prstGeom prst="bentConnector4">
            <a:avLst>
              <a:gd name="adj1" fmla="val 21238"/>
              <a:gd name="adj2" fmla="val 12611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/>
          <p:cNvCxnSpPr>
            <a:stCxn id="5" idx="2"/>
            <a:endCxn id="51" idx="3"/>
          </p:cNvCxnSpPr>
          <p:nvPr/>
        </p:nvCxnSpPr>
        <p:spPr>
          <a:xfrm rot="16200000" flipH="1">
            <a:off x="1359184" y="2009101"/>
            <a:ext cx="431631" cy="972934"/>
          </a:xfrm>
          <a:prstGeom prst="bentConnector4">
            <a:avLst>
              <a:gd name="adj1" fmla="val 24578"/>
              <a:gd name="adj2" fmla="val 110796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stCxn id="5" idx="2"/>
            <a:endCxn id="52" idx="3"/>
          </p:cNvCxnSpPr>
          <p:nvPr/>
        </p:nvCxnSpPr>
        <p:spPr>
          <a:xfrm rot="16200000" flipH="1">
            <a:off x="1088640" y="2279645"/>
            <a:ext cx="972719" cy="972934"/>
          </a:xfrm>
          <a:prstGeom prst="bentConnector4">
            <a:avLst>
              <a:gd name="adj1" fmla="val 10772"/>
              <a:gd name="adj2" fmla="val 110796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/>
          <p:cNvCxnSpPr>
            <a:stCxn id="5" idx="2"/>
            <a:endCxn id="55" idx="3"/>
          </p:cNvCxnSpPr>
          <p:nvPr/>
        </p:nvCxnSpPr>
        <p:spPr>
          <a:xfrm rot="16200000" flipH="1">
            <a:off x="551992" y="2816293"/>
            <a:ext cx="2046015" cy="972934"/>
          </a:xfrm>
          <a:prstGeom prst="bentConnector4">
            <a:avLst>
              <a:gd name="adj1" fmla="val 4777"/>
              <a:gd name="adj2" fmla="val 11079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/>
          <p:cNvSpPr/>
          <p:nvPr/>
        </p:nvSpPr>
        <p:spPr>
          <a:xfrm>
            <a:off x="1222685" y="3574961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800" kern="0" dirty="0">
                <a:solidFill>
                  <a:srgbClr val="000000"/>
                </a:solidFill>
              </a:rPr>
              <a:t>Lanyard/ID cards</a:t>
            </a:r>
          </a:p>
        </p:txBody>
      </p:sp>
      <p:cxnSp>
        <p:nvCxnSpPr>
          <p:cNvPr id="29" name="Elbow Connector 28"/>
          <p:cNvCxnSpPr>
            <a:stCxn id="5" idx="2"/>
            <a:endCxn id="72" idx="3"/>
          </p:cNvCxnSpPr>
          <p:nvPr/>
        </p:nvCxnSpPr>
        <p:spPr>
          <a:xfrm rot="16200000" flipH="1">
            <a:off x="817624" y="2550660"/>
            <a:ext cx="1512282" cy="970467"/>
          </a:xfrm>
          <a:prstGeom prst="bentConnector4">
            <a:avLst>
              <a:gd name="adj1" fmla="val 6871"/>
              <a:gd name="adj2" fmla="val 110823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5657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porate </a:t>
            </a:r>
            <a:r>
              <a:rPr lang="en-US" dirty="0" smtClean="0"/>
              <a:t>services </a:t>
            </a:r>
            <a:r>
              <a:rPr lang="en-US" dirty="0"/>
              <a:t>category: </a:t>
            </a:r>
            <a:r>
              <a:rPr lang="en-US" dirty="0" smtClean="0"/>
              <a:t>HR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754531" y="1101193"/>
            <a:ext cx="841248" cy="43891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HR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210195" y="1840841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Recruitment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31421" y="1836619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Payroll Mgt. Services</a:t>
            </a:r>
          </a:p>
        </p:txBody>
      </p:sp>
      <p:cxnSp>
        <p:nvCxnSpPr>
          <p:cNvPr id="21" name="Elbow Connector 20"/>
          <p:cNvCxnSpPr>
            <a:stCxn id="4" idx="2"/>
            <a:endCxn id="5" idx="0"/>
          </p:cNvCxnSpPr>
          <p:nvPr/>
        </p:nvCxnSpPr>
        <p:spPr>
          <a:xfrm rot="5400000">
            <a:off x="3252619" y="-81695"/>
            <a:ext cx="300736" cy="3544336"/>
          </a:xfrm>
          <a:prstGeom prst="bentConnector3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4573441" y="1840842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Staff Welfare</a:t>
            </a:r>
          </a:p>
        </p:txBody>
      </p:sp>
      <p:sp>
        <p:nvSpPr>
          <p:cNvPr id="39" name="Rectangle 38"/>
          <p:cNvSpPr/>
          <p:nvPr/>
        </p:nvSpPr>
        <p:spPr>
          <a:xfrm>
            <a:off x="2891818" y="1840842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Outsourced </a:t>
            </a:r>
            <a:r>
              <a:rPr lang="en-US" sz="800" dirty="0">
                <a:solidFill>
                  <a:srgbClr val="FFFFFF"/>
                </a:solidFill>
              </a:rPr>
              <a:t>Staff</a:t>
            </a:r>
          </a:p>
        </p:txBody>
      </p:sp>
      <p:cxnSp>
        <p:nvCxnSpPr>
          <p:cNvPr id="42" name="Elbow Connector 41"/>
          <p:cNvCxnSpPr>
            <a:stCxn id="4" idx="2"/>
            <a:endCxn id="39" idx="0"/>
          </p:cNvCxnSpPr>
          <p:nvPr/>
        </p:nvCxnSpPr>
        <p:spPr>
          <a:xfrm rot="5400000">
            <a:off x="4093431" y="759117"/>
            <a:ext cx="300737" cy="1862713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4" idx="2"/>
            <a:endCxn id="38" idx="0"/>
          </p:cNvCxnSpPr>
          <p:nvPr/>
        </p:nvCxnSpPr>
        <p:spPr>
          <a:xfrm rot="5400000">
            <a:off x="4934242" y="1599928"/>
            <a:ext cx="300737" cy="181090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/>
          <p:cNvCxnSpPr>
            <a:stCxn id="4" idx="2"/>
            <a:endCxn id="8" idx="0"/>
          </p:cNvCxnSpPr>
          <p:nvPr/>
        </p:nvCxnSpPr>
        <p:spPr>
          <a:xfrm rot="16200000" flipH="1">
            <a:off x="5765343" y="949917"/>
            <a:ext cx="296514" cy="1476890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4577967" y="3585094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Medical</a:t>
            </a:r>
          </a:p>
        </p:txBody>
      </p:sp>
      <p:sp>
        <p:nvSpPr>
          <p:cNvPr id="30" name="Rectangle 29"/>
          <p:cNvSpPr/>
          <p:nvPr/>
        </p:nvSpPr>
        <p:spPr>
          <a:xfrm>
            <a:off x="2896752" y="2443701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Support Staff</a:t>
            </a:r>
          </a:p>
        </p:txBody>
      </p:sp>
      <p:sp>
        <p:nvSpPr>
          <p:cNvPr id="31" name="Rectangle 30"/>
          <p:cNvSpPr/>
          <p:nvPr/>
        </p:nvSpPr>
        <p:spPr>
          <a:xfrm>
            <a:off x="2896752" y="3017176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Specialist </a:t>
            </a:r>
            <a:r>
              <a:rPr lang="en-US" sz="800" dirty="0" smtClean="0">
                <a:solidFill>
                  <a:srgbClr val="000000"/>
                </a:solidFill>
              </a:rPr>
              <a:t>Consultants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10" name="Elbow Connector 9"/>
          <p:cNvCxnSpPr>
            <a:stCxn id="39" idx="2"/>
            <a:endCxn id="30" idx="1"/>
          </p:cNvCxnSpPr>
          <p:nvPr/>
        </p:nvCxnSpPr>
        <p:spPr>
          <a:xfrm rot="5400000">
            <a:off x="2914087" y="2262419"/>
            <a:ext cx="381021" cy="415690"/>
          </a:xfrm>
          <a:prstGeom prst="bentConnector4">
            <a:avLst>
              <a:gd name="adj1" fmla="val 21514"/>
              <a:gd name="adj2" fmla="val 129281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12"/>
          <p:cNvCxnSpPr>
            <a:stCxn id="39" idx="2"/>
            <a:endCxn id="31" idx="1"/>
          </p:cNvCxnSpPr>
          <p:nvPr/>
        </p:nvCxnSpPr>
        <p:spPr>
          <a:xfrm rot="5400000">
            <a:off x="2627349" y="2549157"/>
            <a:ext cx="954496" cy="415690"/>
          </a:xfrm>
          <a:prstGeom prst="bentConnector4">
            <a:avLst>
              <a:gd name="adj1" fmla="val 8769"/>
              <a:gd name="adj2" fmla="val 129282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/>
        </p:nvSpPr>
        <p:spPr>
          <a:xfrm>
            <a:off x="1210195" y="2443701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Recruitment Agencies</a:t>
            </a:r>
          </a:p>
        </p:txBody>
      </p:sp>
      <p:sp>
        <p:nvSpPr>
          <p:cNvPr id="49" name="Rectangle 48"/>
          <p:cNvSpPr/>
          <p:nvPr/>
        </p:nvSpPr>
        <p:spPr>
          <a:xfrm>
            <a:off x="1210195" y="3012412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Background checks</a:t>
            </a:r>
          </a:p>
        </p:txBody>
      </p:sp>
      <p:sp>
        <p:nvSpPr>
          <p:cNvPr id="50" name="Rectangle 49"/>
          <p:cNvSpPr/>
          <p:nvPr/>
        </p:nvSpPr>
        <p:spPr>
          <a:xfrm>
            <a:off x="4573441" y="2452014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Immigration </a:t>
            </a:r>
            <a:r>
              <a:rPr lang="en-US" sz="800" dirty="0" smtClean="0">
                <a:solidFill>
                  <a:srgbClr val="000000"/>
                </a:solidFill>
              </a:rPr>
              <a:t>Service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4573441" y="3020725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Emigration Services 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18" name="Elbow Connector 17"/>
          <p:cNvCxnSpPr>
            <a:stCxn id="38" idx="2"/>
            <a:endCxn id="50" idx="1"/>
          </p:cNvCxnSpPr>
          <p:nvPr/>
        </p:nvCxnSpPr>
        <p:spPr>
          <a:xfrm rot="5400000">
            <a:off x="4587895" y="2265300"/>
            <a:ext cx="391716" cy="420624"/>
          </a:xfrm>
          <a:prstGeom prst="bentConnector4">
            <a:avLst>
              <a:gd name="adj1" fmla="val 21988"/>
              <a:gd name="adj2" fmla="val 123292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lbow Connector 22"/>
          <p:cNvCxnSpPr>
            <a:stCxn id="38" idx="2"/>
            <a:endCxn id="51" idx="1"/>
          </p:cNvCxnSpPr>
          <p:nvPr/>
        </p:nvCxnSpPr>
        <p:spPr>
          <a:xfrm rot="5400000">
            <a:off x="4303540" y="2549655"/>
            <a:ext cx="960427" cy="420624"/>
          </a:xfrm>
          <a:prstGeom prst="bentConnector4">
            <a:avLst>
              <a:gd name="adj1" fmla="val 8900"/>
              <a:gd name="adj2" fmla="val 123292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/>
          <p:cNvCxnSpPr>
            <a:stCxn id="5" idx="2"/>
            <a:endCxn id="47" idx="1"/>
          </p:cNvCxnSpPr>
          <p:nvPr/>
        </p:nvCxnSpPr>
        <p:spPr>
          <a:xfrm rot="5400000">
            <a:off x="1228805" y="2261143"/>
            <a:ext cx="383404" cy="420624"/>
          </a:xfrm>
          <a:prstGeom prst="bentConnector4">
            <a:avLst>
              <a:gd name="adj1" fmla="val 21381"/>
              <a:gd name="adj2" fmla="val 123292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5"/>
          <p:cNvCxnSpPr>
            <a:stCxn id="5" idx="2"/>
            <a:endCxn id="49" idx="1"/>
          </p:cNvCxnSpPr>
          <p:nvPr/>
        </p:nvCxnSpPr>
        <p:spPr>
          <a:xfrm rot="5400000">
            <a:off x="944450" y="2545498"/>
            <a:ext cx="952115" cy="420624"/>
          </a:xfrm>
          <a:prstGeom prst="bentConnector4">
            <a:avLst>
              <a:gd name="adj1" fmla="val 8541"/>
              <a:gd name="adj2" fmla="val 123292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4573441" y="4196265"/>
            <a:ext cx="841248" cy="438912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Health insurance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573441" y="4764976"/>
            <a:ext cx="841248" cy="438912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Hospital Services</a:t>
            </a:r>
          </a:p>
        </p:txBody>
      </p:sp>
      <p:cxnSp>
        <p:nvCxnSpPr>
          <p:cNvPr id="35" name="Elbow Connector 34"/>
          <p:cNvCxnSpPr>
            <a:endCxn id="32" idx="1"/>
          </p:cNvCxnSpPr>
          <p:nvPr/>
        </p:nvCxnSpPr>
        <p:spPr>
          <a:xfrm rot="5400000">
            <a:off x="4587895" y="4009551"/>
            <a:ext cx="391716" cy="420624"/>
          </a:xfrm>
          <a:prstGeom prst="bentConnector4">
            <a:avLst>
              <a:gd name="adj1" fmla="val 21988"/>
              <a:gd name="adj2" fmla="val 123292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5"/>
          <p:cNvCxnSpPr>
            <a:endCxn id="33" idx="1"/>
          </p:cNvCxnSpPr>
          <p:nvPr/>
        </p:nvCxnSpPr>
        <p:spPr>
          <a:xfrm rot="5400000">
            <a:off x="4303540" y="4293906"/>
            <a:ext cx="960427" cy="420624"/>
          </a:xfrm>
          <a:prstGeom prst="bentConnector4">
            <a:avLst>
              <a:gd name="adj1" fmla="val 8900"/>
              <a:gd name="adj2" fmla="val 123292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8001702" y="1843304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Training &amp; Development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8001702" y="2452014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Local Training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001702" y="3020725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International Training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7" name="Elbow Connector 6"/>
          <p:cNvCxnSpPr>
            <a:stCxn id="4" idx="2"/>
            <a:endCxn id="34" idx="0"/>
          </p:cNvCxnSpPr>
          <p:nvPr/>
        </p:nvCxnSpPr>
        <p:spPr>
          <a:xfrm rot="16200000" flipH="1">
            <a:off x="6647141" y="68118"/>
            <a:ext cx="303199" cy="3247171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10"/>
          <p:cNvCxnSpPr>
            <a:stCxn id="34" idx="2"/>
            <a:endCxn id="40" idx="1"/>
          </p:cNvCxnSpPr>
          <p:nvPr/>
        </p:nvCxnSpPr>
        <p:spPr>
          <a:xfrm rot="5400000">
            <a:off x="8017387" y="2266531"/>
            <a:ext cx="389254" cy="420624"/>
          </a:xfrm>
          <a:prstGeom prst="bentConnector4">
            <a:avLst>
              <a:gd name="adj1" fmla="val 21811"/>
              <a:gd name="adj2" fmla="val 126398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/>
          <p:cNvCxnSpPr>
            <a:stCxn id="34" idx="2"/>
            <a:endCxn id="41" idx="1"/>
          </p:cNvCxnSpPr>
          <p:nvPr/>
        </p:nvCxnSpPr>
        <p:spPr>
          <a:xfrm rot="5400000">
            <a:off x="7733032" y="2550886"/>
            <a:ext cx="957965" cy="420624"/>
          </a:xfrm>
          <a:prstGeom prst="bentConnector4">
            <a:avLst>
              <a:gd name="adj1" fmla="val 8546"/>
              <a:gd name="adj2" fmla="val 126397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Elbow Connector 8"/>
          <p:cNvCxnSpPr>
            <a:stCxn id="38" idx="2"/>
            <a:endCxn id="26" idx="1"/>
          </p:cNvCxnSpPr>
          <p:nvPr/>
        </p:nvCxnSpPr>
        <p:spPr>
          <a:xfrm rot="5400000">
            <a:off x="4023618" y="2834103"/>
            <a:ext cx="1524796" cy="416098"/>
          </a:xfrm>
          <a:prstGeom prst="bentConnector4">
            <a:avLst>
              <a:gd name="adj1" fmla="val 5526"/>
              <a:gd name="adj2" fmla="val 122273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3758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porate </a:t>
            </a:r>
            <a:r>
              <a:rPr lang="en-US" dirty="0" smtClean="0"/>
              <a:t>services </a:t>
            </a:r>
            <a:r>
              <a:rPr lang="en-US" dirty="0"/>
              <a:t>category: Travel and Hotel</a:t>
            </a:r>
          </a:p>
        </p:txBody>
      </p:sp>
      <p:sp>
        <p:nvSpPr>
          <p:cNvPr id="4" name="Rectangle 3"/>
          <p:cNvSpPr/>
          <p:nvPr/>
        </p:nvSpPr>
        <p:spPr>
          <a:xfrm>
            <a:off x="5237862" y="1101193"/>
            <a:ext cx="841248" cy="43891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Travel and Hotel</a:t>
            </a:r>
          </a:p>
        </p:txBody>
      </p:sp>
      <p:sp>
        <p:nvSpPr>
          <p:cNvPr id="8" name="Rectangle 7"/>
          <p:cNvSpPr/>
          <p:nvPr/>
        </p:nvSpPr>
        <p:spPr>
          <a:xfrm>
            <a:off x="7294198" y="2751037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800" kern="0" dirty="0">
                <a:solidFill>
                  <a:srgbClr val="000000"/>
                </a:solidFill>
              </a:rPr>
              <a:t>Travel  </a:t>
            </a:r>
            <a:r>
              <a:rPr lang="en-US" sz="800" kern="0" dirty="0" err="1">
                <a:solidFill>
                  <a:srgbClr val="000000"/>
                </a:solidFill>
              </a:rPr>
              <a:t>Mgt</a:t>
            </a:r>
            <a:r>
              <a:rPr lang="en-US" sz="800" kern="0" dirty="0">
                <a:solidFill>
                  <a:srgbClr val="000000"/>
                </a:solidFill>
              </a:rPr>
              <a:t> Service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5239739" y="2755260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800" kern="0" dirty="0">
                <a:solidFill>
                  <a:srgbClr val="000000"/>
                </a:solidFill>
              </a:rPr>
              <a:t>Hotel Accommodation</a:t>
            </a:r>
          </a:p>
        </p:txBody>
      </p:sp>
      <p:sp>
        <p:nvSpPr>
          <p:cNvPr id="39" name="Rectangle 38"/>
          <p:cNvSpPr/>
          <p:nvPr/>
        </p:nvSpPr>
        <p:spPr>
          <a:xfrm>
            <a:off x="3037608" y="2755260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800" kern="0" dirty="0">
                <a:solidFill>
                  <a:srgbClr val="000000"/>
                </a:solidFill>
              </a:rPr>
              <a:t>Transportation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299132" y="3381207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Booking Logistics</a:t>
            </a:r>
          </a:p>
        </p:txBody>
      </p:sp>
      <p:cxnSp>
        <p:nvCxnSpPr>
          <p:cNvPr id="33" name="Straight Connector 32"/>
          <p:cNvCxnSpPr>
            <a:stCxn id="8" idx="2"/>
            <a:endCxn id="30" idx="0"/>
          </p:cNvCxnSpPr>
          <p:nvPr/>
        </p:nvCxnSpPr>
        <p:spPr>
          <a:xfrm>
            <a:off x="7714822" y="3189949"/>
            <a:ext cx="2467" cy="191258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</p:cxnSp>
      <p:sp>
        <p:nvSpPr>
          <p:cNvPr id="77" name="Rectangle 76"/>
          <p:cNvSpPr/>
          <p:nvPr/>
        </p:nvSpPr>
        <p:spPr>
          <a:xfrm>
            <a:off x="5239739" y="3380942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/>
                </a:solidFill>
              </a:rPr>
              <a:t>International</a:t>
            </a:r>
          </a:p>
        </p:txBody>
      </p:sp>
      <p:sp>
        <p:nvSpPr>
          <p:cNvPr id="78" name="Rectangle 77"/>
          <p:cNvSpPr/>
          <p:nvPr/>
        </p:nvSpPr>
        <p:spPr>
          <a:xfrm>
            <a:off x="5237862" y="3930633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/>
                </a:solidFill>
              </a:rPr>
              <a:t>Local</a:t>
            </a:r>
          </a:p>
        </p:txBody>
      </p:sp>
      <p:sp>
        <p:nvSpPr>
          <p:cNvPr id="79" name="Rectangle 78"/>
          <p:cNvSpPr/>
          <p:nvPr/>
        </p:nvSpPr>
        <p:spPr>
          <a:xfrm>
            <a:off x="4067042" y="3378429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/>
                </a:solidFill>
              </a:rPr>
              <a:t>Other transport mode</a:t>
            </a:r>
          </a:p>
        </p:txBody>
      </p:sp>
      <p:sp>
        <p:nvSpPr>
          <p:cNvPr id="80" name="Rectangle 79"/>
          <p:cNvSpPr/>
          <p:nvPr/>
        </p:nvSpPr>
        <p:spPr>
          <a:xfrm>
            <a:off x="2022310" y="3378429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Air</a:t>
            </a:r>
          </a:p>
        </p:txBody>
      </p:sp>
      <p:sp>
        <p:nvSpPr>
          <p:cNvPr id="81" name="Rectangle 80"/>
          <p:cNvSpPr/>
          <p:nvPr/>
        </p:nvSpPr>
        <p:spPr>
          <a:xfrm>
            <a:off x="3052649" y="3378429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Road</a:t>
            </a:r>
            <a:endParaRPr lang="en-US" sz="800" kern="0" dirty="0">
              <a:solidFill>
                <a:srgbClr val="000000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2022310" y="5024684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Airport Transfers</a:t>
            </a:r>
          </a:p>
        </p:txBody>
      </p:sp>
      <p:sp>
        <p:nvSpPr>
          <p:cNvPr id="84" name="Rectangle 83"/>
          <p:cNvSpPr/>
          <p:nvPr/>
        </p:nvSpPr>
        <p:spPr>
          <a:xfrm>
            <a:off x="2022310" y="3959653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/>
                </a:solidFill>
              </a:rPr>
              <a:t>International</a:t>
            </a:r>
          </a:p>
        </p:txBody>
      </p:sp>
      <p:sp>
        <p:nvSpPr>
          <p:cNvPr id="85" name="Rectangle 84"/>
          <p:cNvSpPr/>
          <p:nvPr/>
        </p:nvSpPr>
        <p:spPr>
          <a:xfrm>
            <a:off x="2022310" y="4484045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/>
                </a:solidFill>
              </a:rPr>
              <a:t>Local</a:t>
            </a:r>
          </a:p>
        </p:txBody>
      </p:sp>
      <p:sp>
        <p:nvSpPr>
          <p:cNvPr id="86" name="Rectangle 85"/>
          <p:cNvSpPr/>
          <p:nvPr/>
        </p:nvSpPr>
        <p:spPr>
          <a:xfrm>
            <a:off x="3052649" y="3959653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/>
                </a:solidFill>
              </a:rPr>
              <a:t>International</a:t>
            </a:r>
          </a:p>
        </p:txBody>
      </p:sp>
      <p:sp>
        <p:nvSpPr>
          <p:cNvPr id="87" name="Rectangle 86"/>
          <p:cNvSpPr/>
          <p:nvPr/>
        </p:nvSpPr>
        <p:spPr>
          <a:xfrm>
            <a:off x="3052649" y="4484045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/>
                </a:solidFill>
              </a:rPr>
              <a:t>Local</a:t>
            </a:r>
          </a:p>
        </p:txBody>
      </p:sp>
      <p:sp>
        <p:nvSpPr>
          <p:cNvPr id="88" name="Rectangle 87"/>
          <p:cNvSpPr/>
          <p:nvPr/>
        </p:nvSpPr>
        <p:spPr>
          <a:xfrm>
            <a:off x="4067042" y="3959653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/>
                </a:solidFill>
              </a:rPr>
              <a:t>International</a:t>
            </a:r>
          </a:p>
        </p:txBody>
      </p:sp>
      <p:sp>
        <p:nvSpPr>
          <p:cNvPr id="89" name="Rectangle 88"/>
          <p:cNvSpPr/>
          <p:nvPr/>
        </p:nvSpPr>
        <p:spPr>
          <a:xfrm>
            <a:off x="4067042" y="4484045"/>
            <a:ext cx="836314" cy="43414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/>
                </a:solidFill>
              </a:rPr>
              <a:t>Local</a:t>
            </a:r>
          </a:p>
        </p:txBody>
      </p:sp>
      <p:cxnSp>
        <p:nvCxnSpPr>
          <p:cNvPr id="18" name="Elbow Connector 17"/>
          <p:cNvCxnSpPr>
            <a:stCxn id="39" idx="2"/>
            <a:endCxn id="80" idx="0"/>
          </p:cNvCxnSpPr>
          <p:nvPr/>
        </p:nvCxnSpPr>
        <p:spPr>
          <a:xfrm rot="5400000">
            <a:off x="2857222" y="2777418"/>
            <a:ext cx="184257" cy="1017765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stCxn id="39" idx="2"/>
            <a:endCxn id="79" idx="0"/>
          </p:cNvCxnSpPr>
          <p:nvPr/>
        </p:nvCxnSpPr>
        <p:spPr>
          <a:xfrm rot="16200000" flipH="1">
            <a:off x="3879587" y="2772816"/>
            <a:ext cx="184257" cy="1026967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39" idx="2"/>
            <a:endCxn id="81" idx="0"/>
          </p:cNvCxnSpPr>
          <p:nvPr/>
        </p:nvCxnSpPr>
        <p:spPr>
          <a:xfrm rot="16200000" flipH="1">
            <a:off x="3372391" y="3280013"/>
            <a:ext cx="184257" cy="12574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Elbow Connector 95"/>
          <p:cNvCxnSpPr>
            <a:stCxn id="80" idx="2"/>
            <a:endCxn id="84" idx="1"/>
          </p:cNvCxnSpPr>
          <p:nvPr/>
        </p:nvCxnSpPr>
        <p:spPr>
          <a:xfrm rot="5400000">
            <a:off x="2049314" y="3785574"/>
            <a:ext cx="364150" cy="418157"/>
          </a:xfrm>
          <a:prstGeom prst="bentConnector4">
            <a:avLst>
              <a:gd name="adj1" fmla="val 20194"/>
              <a:gd name="adj2" fmla="val 129108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98"/>
          <p:cNvCxnSpPr>
            <a:stCxn id="80" idx="2"/>
            <a:endCxn id="85" idx="1"/>
          </p:cNvCxnSpPr>
          <p:nvPr/>
        </p:nvCxnSpPr>
        <p:spPr>
          <a:xfrm rot="5400000">
            <a:off x="1787118" y="4047770"/>
            <a:ext cx="888542" cy="418157"/>
          </a:xfrm>
          <a:prstGeom prst="bentConnector4">
            <a:avLst>
              <a:gd name="adj1" fmla="val 8382"/>
              <a:gd name="adj2" fmla="val 129108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102"/>
          <p:cNvCxnSpPr>
            <a:stCxn id="80" idx="2"/>
            <a:endCxn id="82" idx="1"/>
          </p:cNvCxnSpPr>
          <p:nvPr/>
        </p:nvCxnSpPr>
        <p:spPr>
          <a:xfrm rot="5400000">
            <a:off x="1516799" y="4318089"/>
            <a:ext cx="1429181" cy="418157"/>
          </a:xfrm>
          <a:prstGeom prst="bentConnector4">
            <a:avLst>
              <a:gd name="adj1" fmla="val 5015"/>
              <a:gd name="adj2" fmla="val 129109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06"/>
          <p:cNvCxnSpPr>
            <a:stCxn id="81" idx="2"/>
            <a:endCxn id="86" idx="1"/>
          </p:cNvCxnSpPr>
          <p:nvPr/>
        </p:nvCxnSpPr>
        <p:spPr>
          <a:xfrm rot="5400000">
            <a:off x="3079653" y="3785574"/>
            <a:ext cx="364150" cy="418157"/>
          </a:xfrm>
          <a:prstGeom prst="bentConnector4">
            <a:avLst>
              <a:gd name="adj1" fmla="val 20194"/>
              <a:gd name="adj2" fmla="val 120588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Elbow Connector 109"/>
          <p:cNvCxnSpPr>
            <a:stCxn id="81" idx="2"/>
            <a:endCxn id="87" idx="1"/>
          </p:cNvCxnSpPr>
          <p:nvPr/>
        </p:nvCxnSpPr>
        <p:spPr>
          <a:xfrm rot="5400000">
            <a:off x="2817457" y="4047770"/>
            <a:ext cx="888542" cy="418157"/>
          </a:xfrm>
          <a:prstGeom prst="bentConnector4">
            <a:avLst>
              <a:gd name="adj1" fmla="val 8382"/>
              <a:gd name="adj2" fmla="val 120588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Elbow Connector 113"/>
          <p:cNvCxnSpPr>
            <a:stCxn id="79" idx="2"/>
            <a:endCxn id="88" idx="1"/>
          </p:cNvCxnSpPr>
          <p:nvPr/>
        </p:nvCxnSpPr>
        <p:spPr>
          <a:xfrm rot="5400000">
            <a:off x="4094046" y="3785574"/>
            <a:ext cx="364150" cy="418157"/>
          </a:xfrm>
          <a:prstGeom prst="bentConnector4">
            <a:avLst>
              <a:gd name="adj1" fmla="val 20194"/>
              <a:gd name="adj2" fmla="val 123428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Elbow Connector 118"/>
          <p:cNvCxnSpPr>
            <a:stCxn id="79" idx="2"/>
            <a:endCxn id="89" idx="1"/>
          </p:cNvCxnSpPr>
          <p:nvPr/>
        </p:nvCxnSpPr>
        <p:spPr>
          <a:xfrm rot="5400000">
            <a:off x="3831850" y="4047770"/>
            <a:ext cx="888542" cy="418157"/>
          </a:xfrm>
          <a:prstGeom prst="bentConnector4">
            <a:avLst>
              <a:gd name="adj1" fmla="val 8382"/>
              <a:gd name="adj2" fmla="val 123428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Elbow Connector 123"/>
          <p:cNvCxnSpPr>
            <a:stCxn id="38" idx="2"/>
            <a:endCxn id="77" idx="1"/>
          </p:cNvCxnSpPr>
          <p:nvPr/>
        </p:nvCxnSpPr>
        <p:spPr>
          <a:xfrm rot="5400000">
            <a:off x="5248129" y="3185782"/>
            <a:ext cx="403844" cy="420624"/>
          </a:xfrm>
          <a:prstGeom prst="bentConnector4">
            <a:avLst>
              <a:gd name="adj1" fmla="val 23124"/>
              <a:gd name="adj2" fmla="val 120469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Elbow Connector 126"/>
          <p:cNvCxnSpPr>
            <a:stCxn id="38" idx="2"/>
            <a:endCxn id="78" idx="1"/>
          </p:cNvCxnSpPr>
          <p:nvPr/>
        </p:nvCxnSpPr>
        <p:spPr>
          <a:xfrm rot="5400000">
            <a:off x="4972346" y="3459689"/>
            <a:ext cx="953535" cy="422501"/>
          </a:xfrm>
          <a:prstGeom prst="bentConnector4">
            <a:avLst>
              <a:gd name="adj1" fmla="val 9973"/>
              <a:gd name="adj2" fmla="val 120377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6233387" y="1853114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Non-Business Travel and </a:t>
            </a:r>
            <a:r>
              <a:rPr lang="en-US" sz="800" dirty="0" smtClean="0">
                <a:solidFill>
                  <a:srgbClr val="FFFFFF"/>
                </a:solidFill>
              </a:rPr>
              <a:t>Hotel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178928" y="1853114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Business Travel </a:t>
            </a:r>
            <a:r>
              <a:rPr lang="en-US" sz="800" dirty="0">
                <a:solidFill>
                  <a:srgbClr val="FFFFFF"/>
                </a:solidFill>
              </a:rPr>
              <a:t>and Hotel</a:t>
            </a:r>
          </a:p>
        </p:txBody>
      </p:sp>
      <p:cxnSp>
        <p:nvCxnSpPr>
          <p:cNvPr id="5" name="Elbow Connector 4"/>
          <p:cNvCxnSpPr>
            <a:stCxn id="4" idx="2"/>
            <a:endCxn id="37" idx="0"/>
          </p:cNvCxnSpPr>
          <p:nvPr/>
        </p:nvCxnSpPr>
        <p:spPr>
          <a:xfrm rot="5400000">
            <a:off x="4972515" y="1167142"/>
            <a:ext cx="313009" cy="1058934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lbow Connector 9"/>
          <p:cNvCxnSpPr>
            <a:stCxn id="4" idx="2"/>
            <a:endCxn id="36" idx="0"/>
          </p:cNvCxnSpPr>
          <p:nvPr/>
        </p:nvCxnSpPr>
        <p:spPr>
          <a:xfrm rot="16200000" flipH="1">
            <a:off x="5999744" y="1198846"/>
            <a:ext cx="313009" cy="995525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lbow Connector 11"/>
          <p:cNvCxnSpPr>
            <a:stCxn id="39" idx="0"/>
            <a:endCxn id="8" idx="0"/>
          </p:cNvCxnSpPr>
          <p:nvPr/>
        </p:nvCxnSpPr>
        <p:spPr>
          <a:xfrm rot="5400000" flipH="1" flipV="1">
            <a:off x="5584416" y="624854"/>
            <a:ext cx="4223" cy="4256590"/>
          </a:xfrm>
          <a:prstGeom prst="bentConnector3">
            <a:avLst>
              <a:gd name="adj1" fmla="val 5513213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/>
          <p:cNvCxnSpPr>
            <a:stCxn id="39" idx="0"/>
            <a:endCxn id="38" idx="0"/>
          </p:cNvCxnSpPr>
          <p:nvPr/>
        </p:nvCxnSpPr>
        <p:spPr>
          <a:xfrm rot="5400000" flipH="1" flipV="1">
            <a:off x="4559297" y="1654195"/>
            <a:ext cx="12700" cy="2202131"/>
          </a:xfrm>
          <a:prstGeom prst="bentConnector3">
            <a:avLst>
              <a:gd name="adj1" fmla="val 1800000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37" idx="2"/>
          </p:cNvCxnSpPr>
          <p:nvPr/>
        </p:nvCxnSpPr>
        <p:spPr>
          <a:xfrm>
            <a:off x="4599552" y="2292026"/>
            <a:ext cx="0" cy="228752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36" idx="2"/>
          </p:cNvCxnSpPr>
          <p:nvPr/>
        </p:nvCxnSpPr>
        <p:spPr>
          <a:xfrm>
            <a:off x="6654011" y="2292026"/>
            <a:ext cx="0" cy="228752"/>
          </a:xfrm>
          <a:prstGeom prst="line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7488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porate </a:t>
            </a:r>
            <a:r>
              <a:rPr lang="en-US" dirty="0" smtClean="0"/>
              <a:t>services </a:t>
            </a:r>
            <a:r>
              <a:rPr lang="en-US" dirty="0"/>
              <a:t>category: </a:t>
            </a:r>
            <a:r>
              <a:rPr lang="en-US" dirty="0" smtClean="0"/>
              <a:t>Marketing and Communications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817919" y="1101193"/>
            <a:ext cx="841248" cy="43891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Marketing and </a:t>
            </a:r>
            <a:r>
              <a:rPr lang="en-US" sz="800" dirty="0" err="1">
                <a:solidFill>
                  <a:srgbClr val="FFFFFF"/>
                </a:solidFill>
              </a:rPr>
              <a:t>Comms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954481" y="1840841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Marketing Agencies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551445" y="1836619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Donations and Sponsorships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551445" y="2439395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Sports Sponsorships </a:t>
            </a:r>
          </a:p>
          <a:p>
            <a:pPr algn="ctr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551445" y="2980483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50" dirty="0" smtClean="0">
                <a:solidFill>
                  <a:srgbClr val="000000"/>
                </a:solidFill>
              </a:rPr>
              <a:t>Other Donations and Sponsorships</a:t>
            </a:r>
            <a:endParaRPr lang="en-US" sz="750" dirty="0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907026" y="2518279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Creativ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1740" y="2926512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Posters and signag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551446" y="3534624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Subventions to </a:t>
            </a:r>
            <a:r>
              <a:rPr lang="en-US" sz="800" dirty="0" err="1" smtClean="0">
                <a:solidFill>
                  <a:srgbClr val="000000"/>
                </a:solidFill>
              </a:rPr>
              <a:t>Saro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29" name="Elbow Connector 28"/>
          <p:cNvCxnSpPr>
            <a:stCxn id="8" idx="2"/>
            <a:endCxn id="9" idx="1"/>
          </p:cNvCxnSpPr>
          <p:nvPr/>
        </p:nvCxnSpPr>
        <p:spPr>
          <a:xfrm rot="5400000">
            <a:off x="1570097" y="2256879"/>
            <a:ext cx="383320" cy="420624"/>
          </a:xfrm>
          <a:prstGeom prst="bentConnector4">
            <a:avLst>
              <a:gd name="adj1" fmla="val 21374"/>
              <a:gd name="adj2" fmla="val 13836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8" idx="2"/>
            <a:endCxn id="10" idx="1"/>
          </p:cNvCxnSpPr>
          <p:nvPr/>
        </p:nvCxnSpPr>
        <p:spPr>
          <a:xfrm rot="5400000">
            <a:off x="1299553" y="2527423"/>
            <a:ext cx="924408" cy="420624"/>
          </a:xfrm>
          <a:prstGeom prst="bentConnector4">
            <a:avLst>
              <a:gd name="adj1" fmla="val 9037"/>
              <a:gd name="adj2" fmla="val 13836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8" idx="2"/>
            <a:endCxn id="20" idx="1"/>
          </p:cNvCxnSpPr>
          <p:nvPr/>
        </p:nvCxnSpPr>
        <p:spPr>
          <a:xfrm rot="5400000">
            <a:off x="1022484" y="2804494"/>
            <a:ext cx="1478549" cy="420623"/>
          </a:xfrm>
          <a:prstGeom prst="bentConnector4">
            <a:avLst>
              <a:gd name="adj1" fmla="val 5633"/>
              <a:gd name="adj2" fmla="val 1374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7877756" y="1840842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Corporate Gifts And Business Promo 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167258" y="1844150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Customer/Market Research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990599" y="2514066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 smtClean="0">
                <a:solidFill>
                  <a:srgbClr val="000000"/>
                </a:solidFill>
              </a:rPr>
              <a:t>Media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992606" y="3115852"/>
            <a:ext cx="841248" cy="438912"/>
          </a:xfrm>
          <a:prstGeom prst="rect">
            <a:avLst/>
          </a:prstGeom>
          <a:solidFill>
            <a:schemeClr val="tx2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 smtClean="0">
                <a:solidFill>
                  <a:srgbClr val="000000"/>
                </a:solidFill>
              </a:rPr>
              <a:t>TV Adver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4992606" y="3661189"/>
            <a:ext cx="841248" cy="438912"/>
          </a:xfrm>
          <a:prstGeom prst="rect">
            <a:avLst/>
          </a:prstGeom>
          <a:solidFill>
            <a:schemeClr val="tx2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 smtClean="0">
                <a:solidFill>
                  <a:srgbClr val="000000"/>
                </a:solidFill>
              </a:rPr>
              <a:t>Radio Adver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992606" y="4206525"/>
            <a:ext cx="841248" cy="438912"/>
          </a:xfrm>
          <a:prstGeom prst="rect">
            <a:avLst/>
          </a:prstGeom>
          <a:solidFill>
            <a:schemeClr val="tx2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Print Media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4992606" y="4765362"/>
            <a:ext cx="841248" cy="438912"/>
          </a:xfrm>
          <a:prstGeom prst="rect">
            <a:avLst/>
          </a:prstGeom>
          <a:solidFill>
            <a:schemeClr val="tx2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Internet Advert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63" name="Elbow Connector 62"/>
          <p:cNvCxnSpPr>
            <a:endCxn id="59" idx="1"/>
          </p:cNvCxnSpPr>
          <p:nvPr/>
        </p:nvCxnSpPr>
        <p:spPr>
          <a:xfrm rot="5400000">
            <a:off x="5013578" y="2935656"/>
            <a:ext cx="378680" cy="420624"/>
          </a:xfrm>
          <a:prstGeom prst="bentConnector4">
            <a:avLst>
              <a:gd name="adj1" fmla="val 21024"/>
              <a:gd name="adj2" fmla="val 1186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Elbow Connector 63"/>
          <p:cNvCxnSpPr>
            <a:endCxn id="60" idx="1"/>
          </p:cNvCxnSpPr>
          <p:nvPr/>
        </p:nvCxnSpPr>
        <p:spPr>
          <a:xfrm rot="5400000">
            <a:off x="4740915" y="3208324"/>
            <a:ext cx="924017" cy="420624"/>
          </a:xfrm>
          <a:prstGeom prst="bentConnector4">
            <a:avLst>
              <a:gd name="adj1" fmla="val 9019"/>
              <a:gd name="adj2" fmla="val 1186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64"/>
          <p:cNvCxnSpPr>
            <a:endCxn id="61" idx="1"/>
          </p:cNvCxnSpPr>
          <p:nvPr/>
        </p:nvCxnSpPr>
        <p:spPr>
          <a:xfrm rot="5400000">
            <a:off x="4468247" y="3480992"/>
            <a:ext cx="1469353" cy="420624"/>
          </a:xfrm>
          <a:prstGeom prst="bentConnector4">
            <a:avLst>
              <a:gd name="adj1" fmla="val 5925"/>
              <a:gd name="adj2" fmla="val 1186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Elbow Connector 65"/>
          <p:cNvCxnSpPr>
            <a:endCxn id="62" idx="1"/>
          </p:cNvCxnSpPr>
          <p:nvPr/>
        </p:nvCxnSpPr>
        <p:spPr>
          <a:xfrm rot="5400000">
            <a:off x="4188823" y="3760411"/>
            <a:ext cx="2028190" cy="420624"/>
          </a:xfrm>
          <a:prstGeom prst="bentConnector4">
            <a:avLst>
              <a:gd name="adj1" fmla="val 4147"/>
              <a:gd name="adj2" fmla="val 1186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5966356" y="2518279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Experiential</a:t>
            </a:r>
          </a:p>
        </p:txBody>
      </p:sp>
      <p:sp>
        <p:nvSpPr>
          <p:cNvPr id="68" name="Rectangle 67"/>
          <p:cNvSpPr/>
          <p:nvPr/>
        </p:nvSpPr>
        <p:spPr>
          <a:xfrm>
            <a:off x="5966356" y="3121194"/>
            <a:ext cx="841248" cy="438912"/>
          </a:xfrm>
          <a:prstGeom prst="rect">
            <a:avLst/>
          </a:prstGeom>
          <a:solidFill>
            <a:schemeClr val="tx2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Event </a:t>
            </a:r>
            <a:r>
              <a:rPr lang="en-US" sz="800" dirty="0" smtClean="0">
                <a:solidFill>
                  <a:srgbClr val="000000"/>
                </a:solidFill>
              </a:rPr>
              <a:t>Mgt. &amp; Decoration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5966356" y="3657380"/>
            <a:ext cx="841248" cy="438912"/>
          </a:xfrm>
          <a:prstGeom prst="rect">
            <a:avLst/>
          </a:prstGeom>
          <a:solidFill>
            <a:schemeClr val="tx2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Product Launches</a:t>
            </a:r>
          </a:p>
        </p:txBody>
      </p:sp>
      <p:sp>
        <p:nvSpPr>
          <p:cNvPr id="70" name="Rectangle 69"/>
          <p:cNvSpPr/>
          <p:nvPr/>
        </p:nvSpPr>
        <p:spPr>
          <a:xfrm>
            <a:off x="6907026" y="3035803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Digital</a:t>
            </a:r>
          </a:p>
        </p:txBody>
      </p:sp>
      <p:sp>
        <p:nvSpPr>
          <p:cNvPr id="71" name="Rectangle 70"/>
          <p:cNvSpPr/>
          <p:nvPr/>
        </p:nvSpPr>
        <p:spPr>
          <a:xfrm>
            <a:off x="6907026" y="3571989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Public Relations</a:t>
            </a:r>
          </a:p>
        </p:txBody>
      </p:sp>
      <p:cxnSp>
        <p:nvCxnSpPr>
          <p:cNvPr id="75" name="Elbow Connector 74"/>
          <p:cNvCxnSpPr>
            <a:stCxn id="5" idx="2"/>
            <a:endCxn id="17" idx="3"/>
          </p:cNvCxnSpPr>
          <p:nvPr/>
        </p:nvCxnSpPr>
        <p:spPr>
          <a:xfrm rot="16200000" flipH="1">
            <a:off x="6832698" y="1822159"/>
            <a:ext cx="457982" cy="1373169"/>
          </a:xfrm>
          <a:prstGeom prst="bentConnector4">
            <a:avLst>
              <a:gd name="adj1" fmla="val 26041"/>
              <a:gd name="adj2" fmla="val 10540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stCxn id="50" idx="2"/>
            <a:endCxn id="19" idx="1"/>
          </p:cNvCxnSpPr>
          <p:nvPr/>
        </p:nvCxnSpPr>
        <p:spPr>
          <a:xfrm rot="5400000">
            <a:off x="103456" y="2507060"/>
            <a:ext cx="857192" cy="420624"/>
          </a:xfrm>
          <a:prstGeom prst="bentConnector4">
            <a:avLst>
              <a:gd name="adj1" fmla="val 7470"/>
              <a:gd name="adj2" fmla="val 125838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Elbow Connector 87"/>
          <p:cNvCxnSpPr>
            <a:stCxn id="67" idx="2"/>
            <a:endCxn id="68" idx="1"/>
          </p:cNvCxnSpPr>
          <p:nvPr/>
        </p:nvCxnSpPr>
        <p:spPr>
          <a:xfrm rot="5400000">
            <a:off x="5984939" y="2938608"/>
            <a:ext cx="383459" cy="420624"/>
          </a:xfrm>
          <a:prstGeom prst="bentConnector4">
            <a:avLst>
              <a:gd name="adj1" fmla="val 21385"/>
              <a:gd name="adj2" fmla="val 11764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Elbow Connector 90"/>
          <p:cNvCxnSpPr>
            <a:stCxn id="67" idx="2"/>
            <a:endCxn id="69" idx="1"/>
          </p:cNvCxnSpPr>
          <p:nvPr/>
        </p:nvCxnSpPr>
        <p:spPr>
          <a:xfrm rot="5400000">
            <a:off x="5716846" y="3206701"/>
            <a:ext cx="919645" cy="420624"/>
          </a:xfrm>
          <a:prstGeom prst="bentConnector4">
            <a:avLst>
              <a:gd name="adj1" fmla="val 9659"/>
              <a:gd name="adj2" fmla="val 11764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Elbow Connector 97"/>
          <p:cNvCxnSpPr>
            <a:stCxn id="5" idx="2"/>
            <a:endCxn id="70" idx="3"/>
          </p:cNvCxnSpPr>
          <p:nvPr/>
        </p:nvCxnSpPr>
        <p:spPr>
          <a:xfrm rot="16200000" flipH="1">
            <a:off x="6573936" y="2080921"/>
            <a:ext cx="975506" cy="1373169"/>
          </a:xfrm>
          <a:prstGeom prst="bentConnector4">
            <a:avLst>
              <a:gd name="adj1" fmla="val 11970"/>
              <a:gd name="adj2" fmla="val 10540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Elbow Connector 103"/>
          <p:cNvCxnSpPr>
            <a:stCxn id="5" idx="2"/>
            <a:endCxn id="71" idx="3"/>
          </p:cNvCxnSpPr>
          <p:nvPr/>
        </p:nvCxnSpPr>
        <p:spPr>
          <a:xfrm rot="16200000" flipH="1">
            <a:off x="6305843" y="2349014"/>
            <a:ext cx="1511692" cy="1373169"/>
          </a:xfrm>
          <a:prstGeom prst="bentConnector4">
            <a:avLst>
              <a:gd name="adj1" fmla="val 8176"/>
              <a:gd name="adj2" fmla="val 10540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2821241" y="1844150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Subscription to Clubs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321740" y="1849864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Branding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321740" y="2411899"/>
            <a:ext cx="841248" cy="438912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0000"/>
                </a:solidFill>
              </a:rPr>
              <a:t>Campaigns</a:t>
            </a:r>
          </a:p>
        </p:txBody>
      </p:sp>
      <p:cxnSp>
        <p:nvCxnSpPr>
          <p:cNvPr id="11" name="Elbow Connector 10"/>
          <p:cNvCxnSpPr>
            <a:stCxn id="4" idx="2"/>
            <a:endCxn id="50" idx="0"/>
          </p:cNvCxnSpPr>
          <p:nvPr/>
        </p:nvCxnSpPr>
        <p:spPr>
          <a:xfrm rot="5400000">
            <a:off x="2835575" y="-553105"/>
            <a:ext cx="309759" cy="4496179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12"/>
          <p:cNvCxnSpPr>
            <a:stCxn id="4" idx="2"/>
            <a:endCxn id="5" idx="0"/>
          </p:cNvCxnSpPr>
          <p:nvPr/>
        </p:nvCxnSpPr>
        <p:spPr>
          <a:xfrm rot="16200000" flipH="1">
            <a:off x="5656456" y="1122192"/>
            <a:ext cx="300736" cy="1136562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4" idx="2"/>
            <a:endCxn id="38" idx="0"/>
          </p:cNvCxnSpPr>
          <p:nvPr/>
        </p:nvCxnSpPr>
        <p:spPr>
          <a:xfrm rot="16200000" flipH="1">
            <a:off x="6618093" y="160554"/>
            <a:ext cx="300737" cy="3059837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/>
          <p:cNvCxnSpPr>
            <a:stCxn id="4" idx="2"/>
            <a:endCxn id="39" idx="0"/>
          </p:cNvCxnSpPr>
          <p:nvPr/>
        </p:nvCxnSpPr>
        <p:spPr>
          <a:xfrm rot="5400000">
            <a:off x="4761191" y="1366797"/>
            <a:ext cx="304045" cy="650661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32"/>
          <p:cNvCxnSpPr>
            <a:stCxn id="4" idx="2"/>
            <a:endCxn id="49" idx="0"/>
          </p:cNvCxnSpPr>
          <p:nvPr/>
        </p:nvCxnSpPr>
        <p:spPr>
          <a:xfrm rot="5400000">
            <a:off x="4088182" y="693788"/>
            <a:ext cx="304045" cy="1996678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>
            <a:stCxn id="4" idx="2"/>
            <a:endCxn id="8" idx="0"/>
          </p:cNvCxnSpPr>
          <p:nvPr/>
        </p:nvCxnSpPr>
        <p:spPr>
          <a:xfrm rot="5400000">
            <a:off x="3457049" y="55125"/>
            <a:ext cx="296514" cy="3266474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50" idx="2"/>
            <a:endCxn id="51" idx="1"/>
          </p:cNvCxnSpPr>
          <p:nvPr/>
        </p:nvCxnSpPr>
        <p:spPr>
          <a:xfrm rot="5400000">
            <a:off x="360763" y="2249753"/>
            <a:ext cx="342579" cy="420624"/>
          </a:xfrm>
          <a:prstGeom prst="bentConnector4">
            <a:avLst>
              <a:gd name="adj1" fmla="val 17970"/>
              <a:gd name="adj2" fmla="val 122274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5966357" y="4206525"/>
            <a:ext cx="841248" cy="438912"/>
          </a:xfrm>
          <a:prstGeom prst="rect">
            <a:avLst/>
          </a:prstGeom>
          <a:solidFill>
            <a:schemeClr val="tx2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</a:rPr>
              <a:t>Brand Activation</a:t>
            </a: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6" name="Elbow Connector 5"/>
          <p:cNvCxnSpPr>
            <a:stCxn id="67" idx="2"/>
            <a:endCxn id="52" idx="1"/>
          </p:cNvCxnSpPr>
          <p:nvPr/>
        </p:nvCxnSpPr>
        <p:spPr>
          <a:xfrm rot="5400000">
            <a:off x="5442274" y="3481275"/>
            <a:ext cx="1468790" cy="420623"/>
          </a:xfrm>
          <a:prstGeom prst="bentConnector4">
            <a:avLst>
              <a:gd name="adj1" fmla="val 5512"/>
              <a:gd name="adj2" fmla="val 11909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9140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porate </a:t>
            </a:r>
            <a:r>
              <a:rPr lang="en-US" dirty="0" smtClean="0"/>
              <a:t>services </a:t>
            </a:r>
            <a:r>
              <a:rPr lang="en-US" dirty="0"/>
              <a:t>category: Banking </a:t>
            </a:r>
            <a:r>
              <a:rPr lang="en-US" dirty="0" smtClean="0"/>
              <a:t>Operations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685219" y="1101193"/>
            <a:ext cx="841248" cy="43891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Banking Operations</a:t>
            </a:r>
          </a:p>
        </p:txBody>
      </p:sp>
      <p:sp>
        <p:nvSpPr>
          <p:cNvPr id="5" name="Rectangle 4"/>
          <p:cNvSpPr/>
          <p:nvPr/>
        </p:nvSpPr>
        <p:spPr>
          <a:xfrm>
            <a:off x="2474932" y="1836585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Cash Movement Expenses</a:t>
            </a:r>
          </a:p>
        </p:txBody>
      </p:sp>
      <p:cxnSp>
        <p:nvCxnSpPr>
          <p:cNvPr id="21" name="Elbow Connector 20"/>
          <p:cNvCxnSpPr>
            <a:stCxn id="4" idx="2"/>
            <a:endCxn id="5" idx="0"/>
          </p:cNvCxnSpPr>
          <p:nvPr/>
        </p:nvCxnSpPr>
        <p:spPr>
          <a:xfrm rot="5400000">
            <a:off x="3852460" y="583202"/>
            <a:ext cx="296480" cy="2210287"/>
          </a:xfrm>
          <a:prstGeom prst="bentConnector3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6944230" y="1836585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FFFFFF"/>
                </a:solidFill>
              </a:rPr>
              <a:t>Records Management</a:t>
            </a:r>
          </a:p>
        </p:txBody>
      </p:sp>
      <p:cxnSp>
        <p:nvCxnSpPr>
          <p:cNvPr id="44" name="Elbow Connector 43"/>
          <p:cNvCxnSpPr>
            <a:stCxn id="4" idx="2"/>
            <a:endCxn id="59" idx="0"/>
          </p:cNvCxnSpPr>
          <p:nvPr/>
        </p:nvCxnSpPr>
        <p:spPr>
          <a:xfrm rot="5400000">
            <a:off x="4597343" y="1328085"/>
            <a:ext cx="296480" cy="720521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4" idx="2"/>
            <a:endCxn id="37" idx="0"/>
          </p:cNvCxnSpPr>
          <p:nvPr/>
        </p:nvCxnSpPr>
        <p:spPr>
          <a:xfrm rot="16200000" flipH="1">
            <a:off x="6087108" y="558839"/>
            <a:ext cx="296480" cy="2259011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/>
          <p:cNvSpPr/>
          <p:nvPr/>
        </p:nvSpPr>
        <p:spPr>
          <a:xfrm>
            <a:off x="6949164" y="2505548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800" kern="0" dirty="0" smtClean="0">
                <a:solidFill>
                  <a:srgbClr val="000000"/>
                </a:solidFill>
              </a:rPr>
              <a:t>Archiving Services</a:t>
            </a:r>
            <a:endParaRPr lang="en-US" sz="800" kern="0" dirty="0">
              <a:solidFill>
                <a:srgbClr val="000000"/>
              </a:solidFill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6950019" y="3094771"/>
            <a:ext cx="836314" cy="434148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 smtClean="0">
                <a:solidFill>
                  <a:srgbClr val="000000"/>
                </a:solidFill>
              </a:rPr>
              <a:t>Scanning Services</a:t>
            </a:r>
          </a:p>
        </p:txBody>
      </p:sp>
      <p:cxnSp>
        <p:nvCxnSpPr>
          <p:cNvPr id="10" name="Elbow Connector 9"/>
          <p:cNvCxnSpPr>
            <a:stCxn id="37" idx="2"/>
            <a:endCxn id="73" idx="1"/>
          </p:cNvCxnSpPr>
          <p:nvPr/>
        </p:nvCxnSpPr>
        <p:spPr>
          <a:xfrm rot="5400000">
            <a:off x="6933447" y="2291214"/>
            <a:ext cx="447125" cy="415690"/>
          </a:xfrm>
          <a:prstGeom prst="bentConnector4">
            <a:avLst>
              <a:gd name="adj1" fmla="val 25725"/>
              <a:gd name="adj2" fmla="val 125985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12"/>
          <p:cNvCxnSpPr>
            <a:stCxn id="37" idx="2"/>
            <a:endCxn id="75" idx="1"/>
          </p:cNvCxnSpPr>
          <p:nvPr/>
        </p:nvCxnSpPr>
        <p:spPr>
          <a:xfrm rot="5400000">
            <a:off x="6639263" y="2586254"/>
            <a:ext cx="1036348" cy="414835"/>
          </a:xfrm>
          <a:prstGeom prst="bentConnector4">
            <a:avLst>
              <a:gd name="adj1" fmla="val 10439"/>
              <a:gd name="adj2" fmla="val 126039"/>
            </a:avLst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3964698" y="1836585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Core Banking Equipment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5454464" y="1836585"/>
            <a:ext cx="841248" cy="4389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Repairs &amp; Maintenance: Equipment</a:t>
            </a:r>
            <a:endParaRPr lang="en-US" sz="800" dirty="0">
              <a:solidFill>
                <a:srgbClr val="FFFFFF"/>
              </a:solidFill>
            </a:endParaRPr>
          </a:p>
        </p:txBody>
      </p:sp>
      <p:cxnSp>
        <p:nvCxnSpPr>
          <p:cNvPr id="11" name="Elbow Connector 10"/>
          <p:cNvCxnSpPr>
            <a:stCxn id="4" idx="2"/>
            <a:endCxn id="60" idx="0"/>
          </p:cNvCxnSpPr>
          <p:nvPr/>
        </p:nvCxnSpPr>
        <p:spPr>
          <a:xfrm rot="16200000" flipH="1">
            <a:off x="5342225" y="1303722"/>
            <a:ext cx="296480" cy="769245"/>
          </a:xfrm>
          <a:prstGeom prst="bentConnector3">
            <a:avLst/>
          </a:prstGeom>
          <a:ln w="95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0659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9&quot;&gt;&lt;elem m_fUsage=&quot;3.31703100000000050000E+000&quot;&gt;&lt;m_msothmcolidx val=&quot;0&quot;/&gt;&lt;m_rgb r=&quot;ff&quot; g=&quot;22&quot; b=&quot;4&quot;/&gt;&lt;m_ppcolschidx tagver0=&quot;23004&quot; tagname0=&quot;m_ppcolschidxUNRECOGNIZED&quot; val=&quot;0&quot;/&gt;&lt;m_nBrightness val=&quot;0&quot;/&gt;&lt;/elem&gt;&lt;elem m_fUsage=&quot;2.92087542063961080000E+000&quot;&gt;&lt;m_msothmcolidx val=&quot;0&quot;/&gt;&lt;m_rgb r=&quot;63&quot; g=&quot;af&quot; b=&quot;5a&quot;/&gt;&lt;m_ppcolschidx tagver0=&quot;23004&quot; tagname0=&quot;m_ppcolschidxUNRECOGNIZED&quot; val=&quot;0&quot;/&gt;&lt;m_nBrightness val=&quot;0&quot;/&gt;&lt;/elem&gt;&lt;elem m_fUsage=&quot;9.52972870767299420000E-001&quot;&gt;&lt;m_msothmcolidx val=&quot;0&quot;/&gt;&lt;m_rgb r=&quot;e&quot; g=&quot;83&quot; b=&quot;16&quot;/&gt;&lt;m_ppcolschidx tagver0=&quot;23004&quot; tagname0=&quot;m_ppcolschidxUNRECOGNIZED&quot; val=&quot;0&quot;/&gt;&lt;m_nBrightness val=&quot;0&quot;/&gt;&lt;/elem&gt;&lt;elem m_fUsage=&quot;6.26849531924214890000E-001&quot;&gt;&lt;m_msothmcolidx val=&quot;0&quot;/&gt;&lt;m_rgb r=&quot;c8&quot; g=&quot;f0&quot; b=&quot;76&quot;/&gt;&lt;m_ppcolschidx tagver0=&quot;23004&quot; tagname0=&quot;m_ppcolschidxUNRECOGNIZED&quot; val=&quot;0&quot;/&gt;&lt;m_nBrightness val=&quot;0&quot;/&gt;&lt;/elem&gt;&lt;elem m_fUsage=&quot;4.70255094690569420000E-001&quot;&gt;&lt;m_msothmcolidx val=&quot;0&quot;/&gt;&lt;m_rgb r=&quot;f&quot; g=&quot;8c&quot; b=&quot;18&quot;/&gt;&lt;m_ppcolschidx tagver0=&quot;23004&quot; tagname0=&quot;m_ppcolschidxUNRECOGNIZED&quot; val=&quot;0&quot;/&gt;&lt;m_nBrightness val=&quot;0&quot;/&gt;&lt;/elem&gt;&lt;elem m_fUsage=&quot;4.67731555366184380000E-001&quot;&gt;&lt;m_msothmcolidx val=&quot;0&quot;/&gt;&lt;m_rgb r=&quot;64&quot; g=&quot;f0&quot; b=&quot;76&quot;/&gt;&lt;m_ppcolschidx tagver0=&quot;23004&quot; tagname0=&quot;m_ppcolschidxUNRECOGNIZED&quot; val=&quot;0&quot;/&gt;&lt;m_nBrightness val=&quot;0&quot;/&gt;&lt;/elem&gt;&lt;elem m_fUsage=&quot;3.72793887959725840000E-001&quot;&gt;&lt;m_msothmcolidx val=&quot;0&quot;/&gt;&lt;m_rgb r=&quot;71&quot; g=&quot;f0&quot; b=&quot;7a&quot;/&gt;&lt;m_ppcolschidx tagver0=&quot;23004&quot; tagname0=&quot;m_ppcolschidxUNRECOGNIZED&quot; val=&quot;0&quot;/&gt;&lt;m_nBrightness val=&quot;0&quot;/&gt;&lt;/elem&gt;&lt;elem m_fUsage=&quot;1.98048370328037460000E-001&quot;&gt;&lt;m_msothmcolidx val=&quot;0&quot;/&gt;&lt;m_rgb r=&quot;15&quot; g=&quot;c8&quot; b=&quot;23&quot;/&gt;&lt;m_ppcolschidx tagver0=&quot;23004&quot; tagname0=&quot;m_ppcolschidxUNRECOGNIZED&quot; val=&quot;0&quot;/&gt;&lt;m_nBrightness val=&quot;0&quot;/&gt;&lt;/elem&gt;&lt;elem m_fUsage=&quot;1.50094635296999210000E-001&quot;&gt;&lt;m_msothmcolidx val=&quot;0&quot;/&gt;&lt;m_rgb r=&quot;f&quot; g=&quot;91&quot; b=&quot;18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08:10 AM"/>
  <p:tag name="VCT-TEMPLATE" val="Bain A4.potx"/>
  <p:tag name="VCTMASTER" val="Bain A4"/>
  <p:tag name="VCTOR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08:10 AM"/>
  <p:tag name="VCT-TEMPLATE" val="Bain A4.potx"/>
  <p:tag name="VCTMASTER" val="Bain A4"/>
  <p:tag name="VCTOR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08:10 AM"/>
  <p:tag name="VCT-TEMPLATE" val="Bain A4.potx"/>
  <p:tag name="VCTMASTER" val="Bain A4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08:10 AM"/>
  <p:tag name="VCT-TEMPLATE" val="Bain A4.potx"/>
  <p:tag name="VCTMASTER" val="Bain A4"/>
  <p:tag name="VCTORDER" val="1"/>
</p:tagLst>
</file>

<file path=ppt/theme/theme1.xml><?xml version="1.0" encoding="utf-8"?>
<a:theme xmlns:a="http://schemas.openxmlformats.org/drawingml/2006/main" name="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0.xml><?xml version="1.0" encoding="utf-8"?>
<a:theme xmlns:a="http://schemas.openxmlformats.org/drawingml/2006/main" name="6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1.xml><?xml version="1.0" encoding="utf-8"?>
<a:theme xmlns:a="http://schemas.openxmlformats.org/drawingml/2006/main" name="8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2.xml><?xml version="1.0" encoding="utf-8"?>
<a:theme xmlns:a="http://schemas.openxmlformats.org/drawingml/2006/main" name="9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3.xml><?xml version="1.0" encoding="utf-8"?>
<a:theme xmlns:a="http://schemas.openxmlformats.org/drawingml/2006/main" name="10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4.xml><?xml version="1.0" encoding="utf-8"?>
<a:theme xmlns:a="http://schemas.openxmlformats.org/drawingml/2006/main" name="11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5.xml><?xml version="1.0" encoding="utf-8"?>
<a:theme xmlns:a="http://schemas.openxmlformats.org/drawingml/2006/main" name="12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6.xml><?xml version="1.0" encoding="utf-8"?>
<a:theme xmlns:a="http://schemas.openxmlformats.org/drawingml/2006/main" name="13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Y light projection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3.xml><?xml version="1.0" encoding="utf-8"?>
<a:theme xmlns:a="http://schemas.openxmlformats.org/drawingml/2006/main" name="7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4.xml><?xml version="1.0" encoding="utf-8"?>
<a:theme xmlns:a="http://schemas.openxmlformats.org/drawingml/2006/main" name="5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5.xml><?xml version="1.0" encoding="utf-8"?>
<a:theme xmlns:a="http://schemas.openxmlformats.org/drawingml/2006/main" name="3_Union Bank v2">
  <a:themeElements>
    <a:clrScheme name="Union Bank">
      <a:dk1>
        <a:srgbClr val="000000"/>
      </a:dk1>
      <a:lt1>
        <a:srgbClr val="FFFFFF"/>
      </a:lt1>
      <a:dk2>
        <a:srgbClr val="256885"/>
      </a:dk2>
      <a:lt2>
        <a:srgbClr val="FFFFFF"/>
      </a:lt2>
      <a:accent1>
        <a:srgbClr val="0099AB"/>
      </a:accent1>
      <a:accent2>
        <a:srgbClr val="FFFFFF"/>
      </a:accent2>
      <a:accent3>
        <a:srgbClr val="256885"/>
      </a:accent3>
      <a:accent4>
        <a:srgbClr val="FF9900"/>
      </a:accent4>
      <a:accent5>
        <a:srgbClr val="B2D2DE"/>
      </a:accent5>
      <a:accent6>
        <a:srgbClr val="6CAAC0"/>
      </a:accent6>
      <a:hlink>
        <a:srgbClr val="256885"/>
      </a:hlink>
      <a:folHlink>
        <a:srgbClr val="256885"/>
      </a:folHlink>
    </a:clrScheme>
    <a:fontScheme name="Arial (Heading), Arial (Body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46800" tIns="46800" rIns="468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rgbClr val="080808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6800" tIns="46800" rIns="46800" bIns="4680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Custom Color 1">
      <a:srgbClr val="0099AB"/>
    </a:custClr>
    <a:custClr name="Custom Color 2">
      <a:srgbClr val="256885"/>
    </a:custClr>
    <a:custClr name="Custom Color 3">
      <a:srgbClr val="6CAAC0"/>
    </a:custClr>
    <a:custClr name="Custom Color 4">
      <a:srgbClr val="B2D2DE"/>
    </a:custClr>
    <a:custClr name="Custom Color 5">
      <a:srgbClr val="003974"/>
    </a:custClr>
    <a:custClr name="Custom Color 6">
      <a:srgbClr val="006393"/>
    </a:custClr>
    <a:custClr name="Custom Color 7">
      <a:srgbClr val="3F3F3F"/>
    </a:custClr>
    <a:custClr name="Custom Color 8">
      <a:srgbClr val="777777"/>
    </a:custClr>
    <a:custClr name="Custom Color 9">
      <a:srgbClr val="B2B2B2"/>
    </a:custClr>
    <a:custClr name="Custom Color 10">
      <a:srgbClr val="DDDDDD"/>
    </a:custClr>
    <a:custClr name="Custom Color 11">
      <a:srgbClr val="FF9900"/>
    </a:custClr>
    <a:custClr name="Custom Color 12">
      <a:srgbClr val="FFC000"/>
    </a:custClr>
  </a:custClrLst>
</a:theme>
</file>

<file path=ppt/theme/theme6.xml><?xml version="1.0" encoding="utf-8"?>
<a:theme xmlns:a="http://schemas.openxmlformats.org/drawingml/2006/main" name="1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7.xml><?xml version="1.0" encoding="utf-8"?>
<a:theme xmlns:a="http://schemas.openxmlformats.org/drawingml/2006/main" name="2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8.xml><?xml version="1.0" encoding="utf-8"?>
<a:theme xmlns:a="http://schemas.openxmlformats.org/drawingml/2006/main" name="3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9.xml><?xml version="1.0" encoding="utf-8"?>
<a:theme xmlns:a="http://schemas.openxmlformats.org/drawingml/2006/main" name="4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172</TotalTime>
  <Words>683</Words>
  <Application>Microsoft Office PowerPoint</Application>
  <PresentationFormat>Custom</PresentationFormat>
  <Paragraphs>255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3" baseType="lpstr">
      <vt:lpstr>Arial</vt:lpstr>
      <vt:lpstr>Calibri</vt:lpstr>
      <vt:lpstr>EYInterstate Light</vt:lpstr>
      <vt:lpstr>Marlett</vt:lpstr>
      <vt:lpstr>Verdana</vt:lpstr>
      <vt:lpstr>EY_regular_presentation_2010</vt:lpstr>
      <vt:lpstr>EY light projection</vt:lpstr>
      <vt:lpstr>7_EY_regular_presentation_2010</vt:lpstr>
      <vt:lpstr>5_EY_regular_presentation_2010</vt:lpstr>
      <vt:lpstr>3_Union Bank v2</vt:lpstr>
      <vt:lpstr>1_EY_regular_presentation_2010</vt:lpstr>
      <vt:lpstr>2_EY_regular_presentation_2010</vt:lpstr>
      <vt:lpstr>3_EY_regular_presentation_2010</vt:lpstr>
      <vt:lpstr>4_EY_regular_presentation_2010</vt:lpstr>
      <vt:lpstr>6_EY_regular_presentation_2010</vt:lpstr>
      <vt:lpstr>8_EY_regular_presentation_2010</vt:lpstr>
      <vt:lpstr>9_EY_regular_presentation_2010</vt:lpstr>
      <vt:lpstr>10_EY_regular_presentation_2010</vt:lpstr>
      <vt:lpstr>11_EY_regular_presentation_2010</vt:lpstr>
      <vt:lpstr>12_EY_regular_presentation_2010</vt:lpstr>
      <vt:lpstr>13_EY_regular_presentation_2010</vt:lpstr>
      <vt:lpstr>think-cell Slide</vt:lpstr>
      <vt:lpstr>Procurement Transformation TOM Roll Out </vt:lpstr>
      <vt:lpstr>Procurement spend category structure (Levels 1-3)</vt:lpstr>
      <vt:lpstr>Technology category</vt:lpstr>
      <vt:lpstr>Corporate services category: Fleet Management</vt:lpstr>
      <vt:lpstr>Corporate services category: Office Services &amp; Supply</vt:lpstr>
      <vt:lpstr>Corporate services category: HR</vt:lpstr>
      <vt:lpstr>Corporate services category: Travel and Hotel</vt:lpstr>
      <vt:lpstr>Corporate services category: Marketing and Communications</vt:lpstr>
      <vt:lpstr>Corporate services category: Banking Operations</vt:lpstr>
      <vt:lpstr>Corporate services category: Professional services</vt:lpstr>
      <vt:lpstr>Realty Services category</vt:lpstr>
    </vt:vector>
  </TitlesOfParts>
  <Company>Ernst &amp; You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(Arial bold 30 point)</dc:title>
  <dc:creator>Valerie I Ohonbamu</dc:creator>
  <cp:lastModifiedBy>Samuel Ezeala</cp:lastModifiedBy>
  <cp:revision>1569</cp:revision>
  <cp:lastPrinted>2017-01-16T12:37:32Z</cp:lastPrinted>
  <dcterms:created xsi:type="dcterms:W3CDTF">2013-05-31T13:55:19Z</dcterms:created>
  <dcterms:modified xsi:type="dcterms:W3CDTF">2017-08-30T09:23:20Z</dcterms:modified>
</cp:coreProperties>
</file>